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145707093" r:id="rId2"/>
    <p:sldId id="2145707098" r:id="rId3"/>
    <p:sldId id="214570709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EEF156-994D-443B-9C3E-02139B759203}" v="6" dt="2022-01-28T08:24:43.8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107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gay, Inna" userId="287abc58-2c65-4621-bc3a-a205db4f29fe" providerId="ADAL" clId="{A321CD02-F843-4928-9E0E-A4878540CB17}"/>
    <pc:docChg chg="modSld">
      <pc:chgData name="Kogay, Inna" userId="287abc58-2c65-4621-bc3a-a205db4f29fe" providerId="ADAL" clId="{A321CD02-F843-4928-9E0E-A4878540CB17}" dt="2022-01-17T18:25:50.934" v="5"/>
      <pc:docMkLst>
        <pc:docMk/>
      </pc:docMkLst>
      <pc:sldChg chg="addSp modSp mod">
        <pc:chgData name="Kogay, Inna" userId="287abc58-2c65-4621-bc3a-a205db4f29fe" providerId="ADAL" clId="{A321CD02-F843-4928-9E0E-A4878540CB17}" dt="2022-01-17T18:25:50.934" v="5"/>
        <pc:sldMkLst>
          <pc:docMk/>
          <pc:sldMk cId="3518783918" sldId="2145707099"/>
        </pc:sldMkLst>
        <pc:grpChg chg="mod">
          <ac:chgData name="Kogay, Inna" userId="287abc58-2c65-4621-bc3a-a205db4f29fe" providerId="ADAL" clId="{A321CD02-F843-4928-9E0E-A4878540CB17}" dt="2022-01-17T18:25:40.690" v="3" actId="1076"/>
          <ac:grpSpMkLst>
            <pc:docMk/>
            <pc:sldMk cId="3518783918" sldId="2145707099"/>
            <ac:grpSpMk id="18" creationId="{1201A7DF-751E-4FF6-9C46-99DD8CDC9821}"/>
          </ac:grpSpMkLst>
        </pc:grpChg>
        <pc:grpChg chg="mod">
          <ac:chgData name="Kogay, Inna" userId="287abc58-2c65-4621-bc3a-a205db4f29fe" providerId="ADAL" clId="{A321CD02-F843-4928-9E0E-A4878540CB17}" dt="2022-01-17T18:25:36.211" v="2" actId="1076"/>
          <ac:grpSpMkLst>
            <pc:docMk/>
            <pc:sldMk cId="3518783918" sldId="2145707099"/>
            <ac:grpSpMk id="19" creationId="{FBCADDF1-FBF7-4058-9F54-95BA5FADB94C}"/>
          </ac:grpSpMkLst>
        </pc:grpChg>
        <pc:graphicFrameChg chg="mod modGraphic">
          <ac:chgData name="Kogay, Inna" userId="287abc58-2c65-4621-bc3a-a205db4f29fe" providerId="ADAL" clId="{A321CD02-F843-4928-9E0E-A4878540CB17}" dt="2022-01-17T17:24:53.035" v="1" actId="14100"/>
          <ac:graphicFrameMkLst>
            <pc:docMk/>
            <pc:sldMk cId="3518783918" sldId="2145707099"/>
            <ac:graphicFrameMk id="8" creationId="{B83296F0-8EDA-42B2-8275-0F179B8C7335}"/>
          </ac:graphicFrameMkLst>
        </pc:graphicFrameChg>
        <pc:graphicFrameChg chg="add mod">
          <ac:chgData name="Kogay, Inna" userId="287abc58-2c65-4621-bc3a-a205db4f29fe" providerId="ADAL" clId="{A321CD02-F843-4928-9E0E-A4878540CB17}" dt="2022-01-17T18:25:50.934" v="5"/>
          <ac:graphicFrameMkLst>
            <pc:docMk/>
            <pc:sldMk cId="3518783918" sldId="2145707099"/>
            <ac:graphicFrameMk id="20" creationId="{E6C84555-EBD5-4363-B643-EC6CD55AD93D}"/>
          </ac:graphicFrameMkLst>
        </pc:graphicFrameChg>
      </pc:sldChg>
    </pc:docChg>
  </pc:docChgLst>
  <pc:docChgLst>
    <pc:chgData name="Kogay, Inna" userId="287abc58-2c65-4621-bc3a-a205db4f29fe" providerId="ADAL" clId="{618F7620-3C98-4B66-AE20-06275BE5722C}"/>
    <pc:docChg chg="undo custSel addSld delSld modSld sldOrd delMainMaster">
      <pc:chgData name="Kogay, Inna" userId="287abc58-2c65-4621-bc3a-a205db4f29fe" providerId="ADAL" clId="{618F7620-3C98-4B66-AE20-06275BE5722C}" dt="2021-11-22T10:58:16.900" v="1890" actId="1076"/>
      <pc:docMkLst>
        <pc:docMk/>
      </pc:docMkLst>
      <pc:sldChg chg="new del">
        <pc:chgData name="Kogay, Inna" userId="287abc58-2c65-4621-bc3a-a205db4f29fe" providerId="ADAL" clId="{618F7620-3C98-4B66-AE20-06275BE5722C}" dt="2021-11-18T04:37:09.752" v="6" actId="47"/>
        <pc:sldMkLst>
          <pc:docMk/>
          <pc:sldMk cId="953719082" sldId="256"/>
        </pc:sldMkLst>
      </pc:sldChg>
      <pc:sldChg chg="add del">
        <pc:chgData name="Kogay, Inna" userId="287abc58-2c65-4621-bc3a-a205db4f29fe" providerId="ADAL" clId="{618F7620-3C98-4B66-AE20-06275BE5722C}" dt="2021-11-18T04:42:45.066" v="131" actId="47"/>
        <pc:sldMkLst>
          <pc:docMk/>
          <pc:sldMk cId="1058003620" sldId="278"/>
        </pc:sldMkLst>
      </pc:sldChg>
      <pc:sldChg chg="addSp delSp modSp add mod ord">
        <pc:chgData name="Kogay, Inna" userId="287abc58-2c65-4621-bc3a-a205db4f29fe" providerId="ADAL" clId="{618F7620-3C98-4B66-AE20-06275BE5722C}" dt="2021-11-22T04:51:45.320" v="1831" actId="20577"/>
        <pc:sldMkLst>
          <pc:docMk/>
          <pc:sldMk cId="202488608" sldId="2145707093"/>
        </pc:sldMkLst>
        <pc:spChg chg="mod">
          <ac:chgData name="Kogay, Inna" userId="287abc58-2c65-4621-bc3a-a205db4f29fe" providerId="ADAL" clId="{618F7620-3C98-4B66-AE20-06275BE5722C}" dt="2021-11-22T04:51:45.320" v="1831" actId="20577"/>
          <ac:spMkLst>
            <pc:docMk/>
            <pc:sldMk cId="202488608" sldId="2145707093"/>
            <ac:spMk id="2" creationId="{6FE3B1A1-5EC2-0F43-ACD3-9B3D48D693B7}"/>
          </ac:spMkLst>
        </pc:spChg>
        <pc:spChg chg="del mod">
          <ac:chgData name="Kogay, Inna" userId="287abc58-2c65-4621-bc3a-a205db4f29fe" providerId="ADAL" clId="{618F7620-3C98-4B66-AE20-06275BE5722C}" dt="2021-11-18T04:38:40.997" v="86" actId="478"/>
          <ac:spMkLst>
            <pc:docMk/>
            <pc:sldMk cId="202488608" sldId="2145707093"/>
            <ac:spMk id="4" creationId="{10A59358-87F6-C647-B15B-C4FE1F70CF78}"/>
          </ac:spMkLst>
        </pc:spChg>
        <pc:spChg chg="del mod">
          <ac:chgData name="Kogay, Inna" userId="287abc58-2c65-4621-bc3a-a205db4f29fe" providerId="ADAL" clId="{618F7620-3C98-4B66-AE20-06275BE5722C}" dt="2021-11-18T04:38:44.259" v="88" actId="478"/>
          <ac:spMkLst>
            <pc:docMk/>
            <pc:sldMk cId="202488608" sldId="2145707093"/>
            <ac:spMk id="5" creationId="{A09D8888-A3DC-B54D-9CC4-2B4485481544}"/>
          </ac:spMkLst>
        </pc:spChg>
        <pc:spChg chg="del mod">
          <ac:chgData name="Kogay, Inna" userId="287abc58-2c65-4621-bc3a-a205db4f29fe" providerId="ADAL" clId="{618F7620-3C98-4B66-AE20-06275BE5722C}" dt="2021-11-18T04:38:47.573" v="90" actId="478"/>
          <ac:spMkLst>
            <pc:docMk/>
            <pc:sldMk cId="202488608" sldId="2145707093"/>
            <ac:spMk id="6" creationId="{E5A84B0E-5348-8048-8FA2-CEF18D6E3DA6}"/>
          </ac:spMkLst>
        </pc:spChg>
        <pc:spChg chg="mod">
          <ac:chgData name="Kogay, Inna" userId="287abc58-2c65-4621-bc3a-a205db4f29fe" providerId="ADAL" clId="{618F7620-3C98-4B66-AE20-06275BE5722C}" dt="2021-11-18T05:33:24.084" v="1041" actId="1076"/>
          <ac:spMkLst>
            <pc:docMk/>
            <pc:sldMk cId="202488608" sldId="2145707093"/>
            <ac:spMk id="7" creationId="{4E449432-B544-1747-AD07-06F5DC247F58}"/>
          </ac:spMkLst>
        </pc:spChg>
        <pc:spChg chg="add mod">
          <ac:chgData name="Kogay, Inna" userId="287abc58-2c65-4621-bc3a-a205db4f29fe" providerId="ADAL" clId="{618F7620-3C98-4B66-AE20-06275BE5722C}" dt="2021-11-18T05:33:47.575" v="1042" actId="1076"/>
          <ac:spMkLst>
            <pc:docMk/>
            <pc:sldMk cId="202488608" sldId="2145707093"/>
            <ac:spMk id="9" creationId="{D8D1B98C-A81B-4941-B763-25D8E8778BFC}"/>
          </ac:spMkLst>
        </pc:spChg>
        <pc:picChg chg="mod">
          <ac:chgData name="Kogay, Inna" userId="287abc58-2c65-4621-bc3a-a205db4f29fe" providerId="ADAL" clId="{618F7620-3C98-4B66-AE20-06275BE5722C}" dt="2021-11-18T06:47:47.062" v="1740" actId="339"/>
          <ac:picMkLst>
            <pc:docMk/>
            <pc:sldMk cId="202488608" sldId="2145707093"/>
            <ac:picMk id="10" creationId="{9403159C-0E25-F04E-A62E-2D5D21C0F96F}"/>
          </ac:picMkLst>
        </pc:picChg>
      </pc:sldChg>
      <pc:sldChg chg="addSp modSp add del mod">
        <pc:chgData name="Kogay, Inna" userId="287abc58-2c65-4621-bc3a-a205db4f29fe" providerId="ADAL" clId="{618F7620-3C98-4B66-AE20-06275BE5722C}" dt="2021-11-18T04:42:43.493" v="130" actId="47"/>
        <pc:sldMkLst>
          <pc:docMk/>
          <pc:sldMk cId="595300117" sldId="2145707094"/>
        </pc:sldMkLst>
        <pc:spChg chg="add mod">
          <ac:chgData name="Kogay, Inna" userId="287abc58-2c65-4621-bc3a-a205db4f29fe" providerId="ADAL" clId="{618F7620-3C98-4B66-AE20-06275BE5722C}" dt="2021-11-18T04:42:23.659" v="129" actId="20577"/>
          <ac:spMkLst>
            <pc:docMk/>
            <pc:sldMk cId="595300117" sldId="2145707094"/>
            <ac:spMk id="4" creationId="{C506BE05-D2C8-4284-A128-99E8C5367EE9}"/>
          </ac:spMkLst>
        </pc:spChg>
      </pc:sldChg>
      <pc:sldChg chg="addSp delSp modSp mod ord">
        <pc:chgData name="Kogay, Inna" userId="287abc58-2c65-4621-bc3a-a205db4f29fe" providerId="ADAL" clId="{618F7620-3C98-4B66-AE20-06275BE5722C}" dt="2021-11-18T12:09:36.557" v="1828" actId="20577"/>
        <pc:sldMkLst>
          <pc:docMk/>
          <pc:sldMk cId="108610040" sldId="2145707095"/>
        </pc:sldMkLst>
        <pc:spChg chg="mod">
          <ac:chgData name="Kogay, Inna" userId="287abc58-2c65-4621-bc3a-a205db4f29fe" providerId="ADAL" clId="{618F7620-3C98-4B66-AE20-06275BE5722C}" dt="2021-11-18T05:15:04.585" v="535" actId="20577"/>
          <ac:spMkLst>
            <pc:docMk/>
            <pc:sldMk cId="108610040" sldId="2145707095"/>
            <ac:spMk id="2" creationId="{6FE3B1A1-5EC2-0F43-ACD3-9B3D48D693B7}"/>
          </ac:spMkLst>
        </pc:spChg>
        <pc:spChg chg="del mod">
          <ac:chgData name="Kogay, Inna" userId="287abc58-2c65-4621-bc3a-a205db4f29fe" providerId="ADAL" clId="{618F7620-3C98-4B66-AE20-06275BE5722C}" dt="2021-11-18T04:54:31.705" v="235" actId="478"/>
          <ac:spMkLst>
            <pc:docMk/>
            <pc:sldMk cId="108610040" sldId="2145707095"/>
            <ac:spMk id="7" creationId="{4E449432-B544-1747-AD07-06F5DC247F58}"/>
          </ac:spMkLst>
        </pc:spChg>
        <pc:spChg chg="mod">
          <ac:chgData name="Kogay, Inna" userId="287abc58-2c65-4621-bc3a-a205db4f29fe" providerId="ADAL" clId="{618F7620-3C98-4B66-AE20-06275BE5722C}" dt="2021-11-18T04:54:22.941" v="233" actId="20577"/>
          <ac:spMkLst>
            <pc:docMk/>
            <pc:sldMk cId="108610040" sldId="2145707095"/>
            <ac:spMk id="9" creationId="{D8D1B98C-A81B-4941-B763-25D8E8778BFC}"/>
          </ac:spMkLst>
        </pc:spChg>
        <pc:spChg chg="add del mod">
          <ac:chgData name="Kogay, Inna" userId="287abc58-2c65-4621-bc3a-a205db4f29fe" providerId="ADAL" clId="{618F7620-3C98-4B66-AE20-06275BE5722C}" dt="2021-11-18T04:52:40.140" v="227" actId="478"/>
          <ac:spMkLst>
            <pc:docMk/>
            <pc:sldMk cId="108610040" sldId="2145707095"/>
            <ac:spMk id="11" creationId="{9E199531-2FDD-48CC-A644-C53C5822EA77}"/>
          </ac:spMkLst>
        </pc:spChg>
        <pc:spChg chg="add mod">
          <ac:chgData name="Kogay, Inna" userId="287abc58-2c65-4621-bc3a-a205db4f29fe" providerId="ADAL" clId="{618F7620-3C98-4B66-AE20-06275BE5722C}" dt="2021-11-18T06:40:20.576" v="1719" actId="1076"/>
          <ac:spMkLst>
            <pc:docMk/>
            <pc:sldMk cId="108610040" sldId="2145707095"/>
            <ac:spMk id="13" creationId="{97C2DE4D-238E-46FB-A9D1-4F94B3102E22}"/>
          </ac:spMkLst>
        </pc:spChg>
        <pc:spChg chg="add del mod">
          <ac:chgData name="Kogay, Inna" userId="287abc58-2c65-4621-bc3a-a205db4f29fe" providerId="ADAL" clId="{618F7620-3C98-4B66-AE20-06275BE5722C}" dt="2021-11-18T05:09:34.835" v="447" actId="478"/>
          <ac:spMkLst>
            <pc:docMk/>
            <pc:sldMk cId="108610040" sldId="2145707095"/>
            <ac:spMk id="15" creationId="{8988A386-1899-4AF0-8867-9A7A3ED01C9D}"/>
          </ac:spMkLst>
        </pc:spChg>
        <pc:spChg chg="add mod">
          <ac:chgData name="Kogay, Inna" userId="287abc58-2c65-4621-bc3a-a205db4f29fe" providerId="ADAL" clId="{618F7620-3C98-4B66-AE20-06275BE5722C}" dt="2021-11-18T12:09:36.557" v="1828" actId="20577"/>
          <ac:spMkLst>
            <pc:docMk/>
            <pc:sldMk cId="108610040" sldId="2145707095"/>
            <ac:spMk id="16" creationId="{3B0ED492-D018-4F76-9D36-6B0AB5C6B31F}"/>
          </ac:spMkLst>
        </pc:spChg>
        <pc:spChg chg="add mod">
          <ac:chgData name="Kogay, Inna" userId="287abc58-2c65-4621-bc3a-a205db4f29fe" providerId="ADAL" clId="{618F7620-3C98-4B66-AE20-06275BE5722C}" dt="2021-11-18T06:40:29.672" v="1721" actId="1076"/>
          <ac:spMkLst>
            <pc:docMk/>
            <pc:sldMk cId="108610040" sldId="2145707095"/>
            <ac:spMk id="17" creationId="{1AD96931-9AA5-4AAA-A95C-7ABDC9E9A9C7}"/>
          </ac:spMkLst>
        </pc:spChg>
        <pc:spChg chg="add mod">
          <ac:chgData name="Kogay, Inna" userId="287abc58-2c65-4621-bc3a-a205db4f29fe" providerId="ADAL" clId="{618F7620-3C98-4B66-AE20-06275BE5722C}" dt="2021-11-18T05:16:10.113" v="598" actId="1076"/>
          <ac:spMkLst>
            <pc:docMk/>
            <pc:sldMk cId="108610040" sldId="2145707095"/>
            <ac:spMk id="20" creationId="{4289E4CE-A5B5-49D0-9B19-5B62D13D426E}"/>
          </ac:spMkLst>
        </pc:spChg>
        <pc:spChg chg="add mod">
          <ac:chgData name="Kogay, Inna" userId="287abc58-2c65-4621-bc3a-a205db4f29fe" providerId="ADAL" clId="{618F7620-3C98-4B66-AE20-06275BE5722C}" dt="2021-11-18T05:16:04.426" v="597" actId="1076"/>
          <ac:spMkLst>
            <pc:docMk/>
            <pc:sldMk cId="108610040" sldId="2145707095"/>
            <ac:spMk id="21" creationId="{7D1ADB63-210B-47A1-949B-343651F10038}"/>
          </ac:spMkLst>
        </pc:spChg>
        <pc:spChg chg="add del mod ord">
          <ac:chgData name="Kogay, Inna" userId="287abc58-2c65-4621-bc3a-a205db4f29fe" providerId="ADAL" clId="{618F7620-3C98-4B66-AE20-06275BE5722C}" dt="2021-11-18T05:54:26.693" v="1145" actId="478"/>
          <ac:spMkLst>
            <pc:docMk/>
            <pc:sldMk cId="108610040" sldId="2145707095"/>
            <ac:spMk id="22" creationId="{882E09E6-8AAC-466D-8C21-67C831C23ABC}"/>
          </ac:spMkLst>
        </pc:spChg>
        <pc:spChg chg="add mod ord">
          <ac:chgData name="Kogay, Inna" userId="287abc58-2c65-4621-bc3a-a205db4f29fe" providerId="ADAL" clId="{618F7620-3C98-4B66-AE20-06275BE5722C}" dt="2021-11-18T05:43:25.973" v="1082" actId="164"/>
          <ac:spMkLst>
            <pc:docMk/>
            <pc:sldMk cId="108610040" sldId="2145707095"/>
            <ac:spMk id="23" creationId="{4245ED6C-8E8E-4379-A8BB-FE3726027A71}"/>
          </ac:spMkLst>
        </pc:spChg>
        <pc:spChg chg="add mod">
          <ac:chgData name="Kogay, Inna" userId="287abc58-2c65-4621-bc3a-a205db4f29fe" providerId="ADAL" clId="{618F7620-3C98-4B66-AE20-06275BE5722C}" dt="2021-11-18T05:55:12.521" v="1152" actId="164"/>
          <ac:spMkLst>
            <pc:docMk/>
            <pc:sldMk cId="108610040" sldId="2145707095"/>
            <ac:spMk id="25" creationId="{69F12DFB-C965-408A-BBAE-0627BB0A677A}"/>
          </ac:spMkLst>
        </pc:spChg>
        <pc:spChg chg="add mod">
          <ac:chgData name="Kogay, Inna" userId="287abc58-2c65-4621-bc3a-a205db4f29fe" providerId="ADAL" clId="{618F7620-3C98-4B66-AE20-06275BE5722C}" dt="2021-11-18T06:40:54.624" v="1729" actId="14100"/>
          <ac:spMkLst>
            <pc:docMk/>
            <pc:sldMk cId="108610040" sldId="2145707095"/>
            <ac:spMk id="26" creationId="{85059B97-E938-4DCE-9C40-E9508963DE60}"/>
          </ac:spMkLst>
        </pc:spChg>
        <pc:grpChg chg="add mod">
          <ac:chgData name="Kogay, Inna" userId="287abc58-2c65-4621-bc3a-a205db4f29fe" providerId="ADAL" clId="{618F7620-3C98-4B66-AE20-06275BE5722C}" dt="2021-11-18T05:57:05.264" v="1169" actId="14100"/>
          <ac:grpSpMkLst>
            <pc:docMk/>
            <pc:sldMk cId="108610040" sldId="2145707095"/>
            <ac:grpSpMk id="24" creationId="{2086A678-B2B9-449A-A59D-0CB326611865}"/>
          </ac:grpSpMkLst>
        </pc:grpChg>
        <pc:grpChg chg="add del mod">
          <ac:chgData name="Kogay, Inna" userId="287abc58-2c65-4621-bc3a-a205db4f29fe" providerId="ADAL" clId="{618F7620-3C98-4B66-AE20-06275BE5722C}" dt="2021-11-18T05:56:01.553" v="1157" actId="165"/>
          <ac:grpSpMkLst>
            <pc:docMk/>
            <pc:sldMk cId="108610040" sldId="2145707095"/>
            <ac:grpSpMk id="28" creationId="{0515C629-13A1-4009-93F8-B016CA7B72ED}"/>
          </ac:grpSpMkLst>
        </pc:grpChg>
        <pc:grpChg chg="add mod">
          <ac:chgData name="Kogay, Inna" userId="287abc58-2c65-4621-bc3a-a205db4f29fe" providerId="ADAL" clId="{618F7620-3C98-4B66-AE20-06275BE5722C}" dt="2021-11-18T05:57:09.559" v="1170" actId="14100"/>
          <ac:grpSpMkLst>
            <pc:docMk/>
            <pc:sldMk cId="108610040" sldId="2145707095"/>
            <ac:grpSpMk id="29" creationId="{3EC567AF-3010-4797-B3BC-B73BB5DD945E}"/>
          </ac:grpSpMkLst>
        </pc:grpChg>
        <pc:grpChg chg="add del mod">
          <ac:chgData name="Kogay, Inna" userId="287abc58-2c65-4621-bc3a-a205db4f29fe" providerId="ADAL" clId="{618F7620-3C98-4B66-AE20-06275BE5722C}" dt="2021-11-18T05:58:19.645" v="1182" actId="478"/>
          <ac:grpSpMkLst>
            <pc:docMk/>
            <pc:sldMk cId="108610040" sldId="2145707095"/>
            <ac:grpSpMk id="30" creationId="{1BA8F760-0C47-4DB0-A31E-49D1394620A3}"/>
          </ac:grpSpMkLst>
        </pc:grpChg>
        <pc:picChg chg="add mod ord modCrop">
          <ac:chgData name="Kogay, Inna" userId="287abc58-2c65-4621-bc3a-a205db4f29fe" providerId="ADAL" clId="{618F7620-3C98-4B66-AE20-06275BE5722C}" dt="2021-11-18T05:43:25.973" v="1082" actId="164"/>
          <ac:picMkLst>
            <pc:docMk/>
            <pc:sldMk cId="108610040" sldId="2145707095"/>
            <ac:picMk id="4" creationId="{FB5CD7A1-D24F-408D-A411-A59BF4B0EACE}"/>
          </ac:picMkLst>
        </pc:picChg>
        <pc:picChg chg="add mod ord modCrop">
          <ac:chgData name="Kogay, Inna" userId="287abc58-2c65-4621-bc3a-a205db4f29fe" providerId="ADAL" clId="{618F7620-3C98-4B66-AE20-06275BE5722C}" dt="2021-11-18T05:56:14.780" v="1159" actId="1076"/>
          <ac:picMkLst>
            <pc:docMk/>
            <pc:sldMk cId="108610040" sldId="2145707095"/>
            <ac:picMk id="6" creationId="{0EEEAE43-BFB4-4BED-A800-46955AD12EF5}"/>
          </ac:picMkLst>
        </pc:picChg>
        <pc:picChg chg="del mod">
          <ac:chgData name="Kogay, Inna" userId="287abc58-2c65-4621-bc3a-a205db4f29fe" providerId="ADAL" clId="{618F7620-3C98-4B66-AE20-06275BE5722C}" dt="2021-11-18T04:52:35.868" v="225" actId="478"/>
          <ac:picMkLst>
            <pc:docMk/>
            <pc:sldMk cId="108610040" sldId="2145707095"/>
            <ac:picMk id="10" creationId="{9403159C-0E25-F04E-A62E-2D5D21C0F96F}"/>
          </ac:picMkLst>
        </pc:picChg>
        <pc:picChg chg="add mod ord topLvl modCrop">
          <ac:chgData name="Kogay, Inna" userId="287abc58-2c65-4621-bc3a-a205db4f29fe" providerId="ADAL" clId="{618F7620-3C98-4B66-AE20-06275BE5722C}" dt="2021-11-18T12:08:54.188" v="1808" actId="14100"/>
          <ac:picMkLst>
            <pc:docMk/>
            <pc:sldMk cId="108610040" sldId="2145707095"/>
            <ac:picMk id="19" creationId="{419FBF59-46FC-4BD8-ACEC-B5A3763E7884}"/>
          </ac:picMkLst>
        </pc:picChg>
        <pc:picChg chg="add del mod topLvl modCrop">
          <ac:chgData name="Kogay, Inna" userId="287abc58-2c65-4621-bc3a-a205db4f29fe" providerId="ADAL" clId="{618F7620-3C98-4B66-AE20-06275BE5722C}" dt="2021-11-18T05:58:19.645" v="1182" actId="478"/>
          <ac:picMkLst>
            <pc:docMk/>
            <pc:sldMk cId="108610040" sldId="2145707095"/>
            <ac:picMk id="27" creationId="{43B1F13B-7B0F-4849-AE94-9D731A9B6687}"/>
          </ac:picMkLst>
        </pc:picChg>
      </pc:sldChg>
      <pc:sldChg chg="addSp delSp modSp new mod">
        <pc:chgData name="Kogay, Inna" userId="287abc58-2c65-4621-bc3a-a205db4f29fe" providerId="ADAL" clId="{618F7620-3C98-4B66-AE20-06275BE5722C}" dt="2021-11-22T10:58:16.900" v="1890" actId="1076"/>
        <pc:sldMkLst>
          <pc:docMk/>
          <pc:sldMk cId="2143237225" sldId="2145707096"/>
        </pc:sldMkLst>
        <pc:spChg chg="mod">
          <ac:chgData name="Kogay, Inna" userId="287abc58-2c65-4621-bc3a-a205db4f29fe" providerId="ADAL" clId="{618F7620-3C98-4B66-AE20-06275BE5722C}" dt="2021-11-18T05:31:29.933" v="1024" actId="1076"/>
          <ac:spMkLst>
            <pc:docMk/>
            <pc:sldMk cId="2143237225" sldId="2145707096"/>
            <ac:spMk id="2" creationId="{726ABE52-2C3A-4053-A5FD-E45BB16E8F8F}"/>
          </ac:spMkLst>
        </pc:spChg>
        <pc:spChg chg="del mod">
          <ac:chgData name="Kogay, Inna" userId="287abc58-2c65-4621-bc3a-a205db4f29fe" providerId="ADAL" clId="{618F7620-3C98-4B66-AE20-06275BE5722C}" dt="2021-11-18T05:16:32.438" v="601" actId="478"/>
          <ac:spMkLst>
            <pc:docMk/>
            <pc:sldMk cId="2143237225" sldId="2145707096"/>
            <ac:spMk id="3" creationId="{6053A24F-A4D4-4ACF-8F35-E8E0AF3D4B0E}"/>
          </ac:spMkLst>
        </pc:spChg>
        <pc:spChg chg="del mod">
          <ac:chgData name="Kogay, Inna" userId="287abc58-2c65-4621-bc3a-a205db4f29fe" providerId="ADAL" clId="{618F7620-3C98-4B66-AE20-06275BE5722C}" dt="2021-11-18T05:23:17.303" v="713" actId="478"/>
          <ac:spMkLst>
            <pc:docMk/>
            <pc:sldMk cId="2143237225" sldId="2145707096"/>
            <ac:spMk id="4" creationId="{A46DA489-39F0-4E71-B8EB-9BC886DFE9A1}"/>
          </ac:spMkLst>
        </pc:spChg>
        <pc:spChg chg="del mod">
          <ac:chgData name="Kogay, Inna" userId="287abc58-2c65-4621-bc3a-a205db4f29fe" providerId="ADAL" clId="{618F7620-3C98-4B66-AE20-06275BE5722C}" dt="2021-11-18T05:23:24.973" v="717" actId="478"/>
          <ac:spMkLst>
            <pc:docMk/>
            <pc:sldMk cId="2143237225" sldId="2145707096"/>
            <ac:spMk id="5" creationId="{2B1F4992-8E5B-44DF-88EE-D9439207A832}"/>
          </ac:spMkLst>
        </pc:spChg>
        <pc:spChg chg="del mod">
          <ac:chgData name="Kogay, Inna" userId="287abc58-2c65-4621-bc3a-a205db4f29fe" providerId="ADAL" clId="{618F7620-3C98-4B66-AE20-06275BE5722C}" dt="2021-11-18T05:23:28.350" v="719" actId="478"/>
          <ac:spMkLst>
            <pc:docMk/>
            <pc:sldMk cId="2143237225" sldId="2145707096"/>
            <ac:spMk id="6" creationId="{D70CE169-6BF3-4270-A14D-7F3379CC6F9E}"/>
          </ac:spMkLst>
        </pc:spChg>
        <pc:spChg chg="mod">
          <ac:chgData name="Kogay, Inna" userId="287abc58-2c65-4621-bc3a-a205db4f29fe" providerId="ADAL" clId="{618F7620-3C98-4B66-AE20-06275BE5722C}" dt="2021-11-22T10:58:16.900" v="1890" actId="1076"/>
          <ac:spMkLst>
            <pc:docMk/>
            <pc:sldMk cId="2143237225" sldId="2145707096"/>
            <ac:spMk id="7" creationId="{CCB633C8-6433-4466-841C-7EBCCC5B675D}"/>
          </ac:spMkLst>
        </pc:spChg>
        <pc:spChg chg="add del mod">
          <ac:chgData name="Kogay, Inna" userId="287abc58-2c65-4621-bc3a-a205db4f29fe" providerId="ADAL" clId="{618F7620-3C98-4B66-AE20-06275BE5722C}" dt="2021-11-18T05:23:21.103" v="715" actId="478"/>
          <ac:spMkLst>
            <pc:docMk/>
            <pc:sldMk cId="2143237225" sldId="2145707096"/>
            <ac:spMk id="9" creationId="{184882AB-02BB-4988-8D80-9E2A9B86A3D7}"/>
          </ac:spMkLst>
        </pc:spChg>
      </pc:sldChg>
      <pc:sldChg chg="addSp delSp modSp add mod ord">
        <pc:chgData name="Kogay, Inna" userId="287abc58-2c65-4621-bc3a-a205db4f29fe" providerId="ADAL" clId="{618F7620-3C98-4B66-AE20-06275BE5722C}" dt="2021-11-22T10:57:34.640" v="1889" actId="20577"/>
        <pc:sldMkLst>
          <pc:docMk/>
          <pc:sldMk cId="2701372629" sldId="2145707097"/>
        </pc:sldMkLst>
        <pc:spChg chg="del mod">
          <ac:chgData name="Kogay, Inna" userId="287abc58-2c65-4621-bc3a-a205db4f29fe" providerId="ADAL" clId="{618F7620-3C98-4B66-AE20-06275BE5722C}" dt="2021-11-18T06:27:12.976" v="1533" actId="478"/>
          <ac:spMkLst>
            <pc:docMk/>
            <pc:sldMk cId="2701372629" sldId="2145707097"/>
            <ac:spMk id="2" creationId="{726ABE52-2C3A-4053-A5FD-E45BB16E8F8F}"/>
          </ac:spMkLst>
        </pc:spChg>
        <pc:spChg chg="del mod">
          <ac:chgData name="Kogay, Inna" userId="287abc58-2c65-4621-bc3a-a205db4f29fe" providerId="ADAL" clId="{618F7620-3C98-4B66-AE20-06275BE5722C}" dt="2021-11-18T06:38:41.959" v="1652" actId="478"/>
          <ac:spMkLst>
            <pc:docMk/>
            <pc:sldMk cId="2701372629" sldId="2145707097"/>
            <ac:spMk id="4" creationId="{A46DA489-39F0-4E71-B8EB-9BC886DFE9A1}"/>
          </ac:spMkLst>
        </pc:spChg>
        <pc:spChg chg="del mod">
          <ac:chgData name="Kogay, Inna" userId="287abc58-2c65-4621-bc3a-a205db4f29fe" providerId="ADAL" clId="{618F7620-3C98-4B66-AE20-06275BE5722C}" dt="2021-11-18T06:38:38.569" v="1650" actId="478"/>
          <ac:spMkLst>
            <pc:docMk/>
            <pc:sldMk cId="2701372629" sldId="2145707097"/>
            <ac:spMk id="5" creationId="{2B1F4992-8E5B-44DF-88EE-D9439207A832}"/>
          </ac:spMkLst>
        </pc:spChg>
        <pc:spChg chg="del mod">
          <ac:chgData name="Kogay, Inna" userId="287abc58-2c65-4621-bc3a-a205db4f29fe" providerId="ADAL" clId="{618F7620-3C98-4B66-AE20-06275BE5722C}" dt="2021-11-18T06:38:49.793" v="1656" actId="478"/>
          <ac:spMkLst>
            <pc:docMk/>
            <pc:sldMk cId="2701372629" sldId="2145707097"/>
            <ac:spMk id="6" creationId="{D70CE169-6BF3-4270-A14D-7F3379CC6F9E}"/>
          </ac:spMkLst>
        </pc:spChg>
        <pc:spChg chg="del mod">
          <ac:chgData name="Kogay, Inna" userId="287abc58-2c65-4621-bc3a-a205db4f29fe" providerId="ADAL" clId="{618F7620-3C98-4B66-AE20-06275BE5722C}" dt="2021-11-18T06:38:45.625" v="1654" actId="478"/>
          <ac:spMkLst>
            <pc:docMk/>
            <pc:sldMk cId="2701372629" sldId="2145707097"/>
            <ac:spMk id="7" creationId="{CCB633C8-6433-4466-841C-7EBCCC5B675D}"/>
          </ac:spMkLst>
        </pc:spChg>
        <pc:spChg chg="add del mod">
          <ac:chgData name="Kogay, Inna" userId="287abc58-2c65-4621-bc3a-a205db4f29fe" providerId="ADAL" clId="{618F7620-3C98-4B66-AE20-06275BE5722C}" dt="2021-11-18T06:25:41.909" v="1516" actId="478"/>
          <ac:spMkLst>
            <pc:docMk/>
            <pc:sldMk cId="2701372629" sldId="2145707097"/>
            <ac:spMk id="9" creationId="{9C0AA3B1-4409-410C-A09B-AC43F6B3F60E}"/>
          </ac:spMkLst>
        </pc:spChg>
        <pc:spChg chg="add mod">
          <ac:chgData name="Kogay, Inna" userId="287abc58-2c65-4621-bc3a-a205db4f29fe" providerId="ADAL" clId="{618F7620-3C98-4B66-AE20-06275BE5722C}" dt="2021-11-18T06:23:31.829" v="1209" actId="1076"/>
          <ac:spMkLst>
            <pc:docMk/>
            <pc:sldMk cId="2701372629" sldId="2145707097"/>
            <ac:spMk id="10" creationId="{FCF5568B-84A3-4A76-A94D-F32A2DCFA4A8}"/>
          </ac:spMkLst>
        </pc:spChg>
        <pc:spChg chg="add mod">
          <ac:chgData name="Kogay, Inna" userId="287abc58-2c65-4621-bc3a-a205db4f29fe" providerId="ADAL" clId="{618F7620-3C98-4B66-AE20-06275BE5722C}" dt="2021-11-22T10:57:34.640" v="1889" actId="20577"/>
          <ac:spMkLst>
            <pc:docMk/>
            <pc:sldMk cId="2701372629" sldId="2145707097"/>
            <ac:spMk id="12" creationId="{A34D6AA0-CA1B-4E07-B9EC-443264462E9A}"/>
          </ac:spMkLst>
        </pc:spChg>
        <pc:spChg chg="add mod">
          <ac:chgData name="Kogay, Inna" userId="287abc58-2c65-4621-bc3a-a205db4f29fe" providerId="ADAL" clId="{618F7620-3C98-4B66-AE20-06275BE5722C}" dt="2021-11-18T06:35:41.267" v="1576" actId="2085"/>
          <ac:spMkLst>
            <pc:docMk/>
            <pc:sldMk cId="2701372629" sldId="2145707097"/>
            <ac:spMk id="15" creationId="{76D5242E-9EF5-460F-96D2-52E2C7525D71}"/>
          </ac:spMkLst>
        </pc:spChg>
        <pc:spChg chg="add mod">
          <ac:chgData name="Kogay, Inna" userId="287abc58-2c65-4621-bc3a-a205db4f29fe" providerId="ADAL" clId="{618F7620-3C98-4B66-AE20-06275BE5722C}" dt="2021-11-18T06:38:30.762" v="1648" actId="1076"/>
          <ac:spMkLst>
            <pc:docMk/>
            <pc:sldMk cId="2701372629" sldId="2145707097"/>
            <ac:spMk id="17" creationId="{D80FCAD3-46ED-4618-9D45-7F0A34EBDD7B}"/>
          </ac:spMkLst>
        </pc:spChg>
        <pc:spChg chg="add mod">
          <ac:chgData name="Kogay, Inna" userId="287abc58-2c65-4621-bc3a-a205db4f29fe" providerId="ADAL" clId="{618F7620-3C98-4B66-AE20-06275BE5722C}" dt="2021-11-18T06:40:04.395" v="1715" actId="1076"/>
          <ac:spMkLst>
            <pc:docMk/>
            <pc:sldMk cId="2701372629" sldId="2145707097"/>
            <ac:spMk id="18" creationId="{E75F2FD1-2B85-44DC-A246-6F842289462B}"/>
          </ac:spMkLst>
        </pc:spChg>
        <pc:spChg chg="add mod">
          <ac:chgData name="Kogay, Inna" userId="287abc58-2c65-4621-bc3a-a205db4f29fe" providerId="ADAL" clId="{618F7620-3C98-4B66-AE20-06275BE5722C}" dt="2021-11-18T06:41:59.107" v="1734" actId="20577"/>
          <ac:spMkLst>
            <pc:docMk/>
            <pc:sldMk cId="2701372629" sldId="2145707097"/>
            <ac:spMk id="19" creationId="{E39EE47E-BC72-4D75-BF71-9803E876A18A}"/>
          </ac:spMkLst>
        </pc:spChg>
        <pc:spChg chg="add mod">
          <ac:chgData name="Kogay, Inna" userId="287abc58-2c65-4621-bc3a-a205db4f29fe" providerId="ADAL" clId="{618F7620-3C98-4B66-AE20-06275BE5722C}" dt="2021-11-18T06:42:29.888" v="1738" actId="113"/>
          <ac:spMkLst>
            <pc:docMk/>
            <pc:sldMk cId="2701372629" sldId="2145707097"/>
            <ac:spMk id="21" creationId="{47E9DF5E-F7C3-41DA-8948-D9D5C657585A}"/>
          </ac:spMkLst>
        </pc:spChg>
        <pc:grpChg chg="add mod">
          <ac:chgData name="Kogay, Inna" userId="287abc58-2c65-4621-bc3a-a205db4f29fe" providerId="ADAL" clId="{618F7620-3C98-4B66-AE20-06275BE5722C}" dt="2021-11-18T06:41:10.146" v="1731" actId="14100"/>
          <ac:grpSpMkLst>
            <pc:docMk/>
            <pc:sldMk cId="2701372629" sldId="2145707097"/>
            <ac:grpSpMk id="16" creationId="{C2D936BC-7384-4E92-BC45-BF9991C27C7D}"/>
          </ac:grpSpMkLst>
        </pc:grpChg>
        <pc:picChg chg="add mod">
          <ac:chgData name="Kogay, Inna" userId="287abc58-2c65-4621-bc3a-a205db4f29fe" providerId="ADAL" clId="{618F7620-3C98-4B66-AE20-06275BE5722C}" dt="2021-11-18T06:45:07.380" v="1739"/>
          <ac:picMkLst>
            <pc:docMk/>
            <pc:sldMk cId="2701372629" sldId="2145707097"/>
            <ac:picMk id="8" creationId="{B85D20AB-ED8D-45BF-8CF9-7F0F89DF7557}"/>
          </ac:picMkLst>
        </pc:picChg>
        <pc:picChg chg="add mod ord">
          <ac:chgData name="Kogay, Inna" userId="287abc58-2c65-4621-bc3a-a205db4f29fe" providerId="ADAL" clId="{618F7620-3C98-4B66-AE20-06275BE5722C}" dt="2021-11-18T06:37:44.803" v="1591" actId="14100"/>
          <ac:picMkLst>
            <pc:docMk/>
            <pc:sldMk cId="2701372629" sldId="2145707097"/>
            <ac:picMk id="14" creationId="{1259DC30-C0F3-4A46-90D1-C0082DEA450C}"/>
          </ac:picMkLst>
        </pc:picChg>
      </pc:sldChg>
      <pc:sldMasterChg chg="del delSldLayout">
        <pc:chgData name="Kogay, Inna" userId="287abc58-2c65-4621-bc3a-a205db4f29fe" providerId="ADAL" clId="{618F7620-3C98-4B66-AE20-06275BE5722C}" dt="2021-11-18T04:42:45.066" v="131" actId="47"/>
        <pc:sldMasterMkLst>
          <pc:docMk/>
          <pc:sldMasterMk cId="3142122343" sldId="2147483648"/>
        </pc:sldMasterMkLst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653991957" sldId="2147483649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3754531833" sldId="2147483650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3620109514" sldId="2147483651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1689117211" sldId="2147483652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753931617" sldId="2147483653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309647800" sldId="2147483654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4154778556" sldId="2147483655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4041028746" sldId="2147483656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289352494" sldId="2147483657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2403002955" sldId="2147483658"/>
          </pc:sldLayoutMkLst>
        </pc:sldLayoutChg>
        <pc:sldLayoutChg chg="del">
          <pc:chgData name="Kogay, Inna" userId="287abc58-2c65-4621-bc3a-a205db4f29fe" providerId="ADAL" clId="{618F7620-3C98-4B66-AE20-06275BE5722C}" dt="2021-11-18T04:42:45.066" v="131" actId="47"/>
          <pc:sldLayoutMkLst>
            <pc:docMk/>
            <pc:sldMasterMk cId="3142122343" sldId="2147483648"/>
            <pc:sldLayoutMk cId="844082726" sldId="2147483659"/>
          </pc:sldLayoutMkLst>
        </pc:sldLayoutChg>
      </pc:sldMasterChg>
    </pc:docChg>
  </pc:docChgLst>
  <pc:docChgLst>
    <pc:chgData name="Kogay, Inna" userId="287abc58-2c65-4621-bc3a-a205db4f29fe" providerId="ADAL" clId="{E92932A7-0E39-49FA-BDCE-EC51849FDA86}"/>
    <pc:docChg chg="undo custSel addSld delSld modSld sldOrd">
      <pc:chgData name="Kogay, Inna" userId="287abc58-2c65-4621-bc3a-a205db4f29fe" providerId="ADAL" clId="{E92932A7-0E39-49FA-BDCE-EC51849FDA86}" dt="2021-12-24T09:42:10.441" v="1968" actId="20577"/>
      <pc:docMkLst>
        <pc:docMk/>
      </pc:docMkLst>
      <pc:sldChg chg="addSp delSp modSp mod">
        <pc:chgData name="Kogay, Inna" userId="287abc58-2c65-4621-bc3a-a205db4f29fe" providerId="ADAL" clId="{E92932A7-0E39-49FA-BDCE-EC51849FDA86}" dt="2021-12-08T13:18:06.363" v="1327" actId="1076"/>
        <pc:sldMkLst>
          <pc:docMk/>
          <pc:sldMk cId="202488608" sldId="2145707093"/>
        </pc:sldMkLst>
        <pc:spChg chg="mod">
          <ac:chgData name="Kogay, Inna" userId="287abc58-2c65-4621-bc3a-a205db4f29fe" providerId="ADAL" clId="{E92932A7-0E39-49FA-BDCE-EC51849FDA86}" dt="2021-12-08T13:18:06.363" v="1327" actId="1076"/>
          <ac:spMkLst>
            <pc:docMk/>
            <pc:sldMk cId="202488608" sldId="2145707093"/>
            <ac:spMk id="2" creationId="{6FE3B1A1-5EC2-0F43-ACD3-9B3D48D693B7}"/>
          </ac:spMkLst>
        </pc:spChg>
        <pc:spChg chg="add del mod">
          <ac:chgData name="Kogay, Inna" userId="287abc58-2c65-4621-bc3a-a205db4f29fe" providerId="ADAL" clId="{E92932A7-0E39-49FA-BDCE-EC51849FDA86}" dt="2021-11-23T03:50:51.567" v="1017" actId="478"/>
          <ac:spMkLst>
            <pc:docMk/>
            <pc:sldMk cId="202488608" sldId="2145707093"/>
            <ac:spMk id="4" creationId="{45E1B60A-E3E7-42DA-9EEA-083A5AE9F789}"/>
          </ac:spMkLst>
        </pc:spChg>
        <pc:spChg chg="del mod">
          <ac:chgData name="Kogay, Inna" userId="287abc58-2c65-4621-bc3a-a205db4f29fe" providerId="ADAL" clId="{E92932A7-0E39-49FA-BDCE-EC51849FDA86}" dt="2021-11-23T03:50:45.065" v="1015" actId="478"/>
          <ac:spMkLst>
            <pc:docMk/>
            <pc:sldMk cId="202488608" sldId="2145707093"/>
            <ac:spMk id="7" creationId="{4E449432-B544-1747-AD07-06F5DC247F58}"/>
          </ac:spMkLst>
        </pc:spChg>
        <pc:spChg chg="mod">
          <ac:chgData name="Kogay, Inna" userId="287abc58-2c65-4621-bc3a-a205db4f29fe" providerId="ADAL" clId="{E92932A7-0E39-49FA-BDCE-EC51849FDA86}" dt="2021-12-08T13:18:02.896" v="1326" actId="20577"/>
          <ac:spMkLst>
            <pc:docMk/>
            <pc:sldMk cId="202488608" sldId="2145707093"/>
            <ac:spMk id="9" creationId="{D8D1B98C-A81B-4941-B763-25D8E8778BFC}"/>
          </ac:spMkLst>
        </pc:spChg>
      </pc:sldChg>
      <pc:sldChg chg="addSp delSp modSp mod ord">
        <pc:chgData name="Kogay, Inna" userId="287abc58-2c65-4621-bc3a-a205db4f29fe" providerId="ADAL" clId="{E92932A7-0E39-49FA-BDCE-EC51849FDA86}" dt="2021-12-08T13:19:27.879" v="1329"/>
        <pc:sldMkLst>
          <pc:docMk/>
          <pc:sldMk cId="108610040" sldId="2145707095"/>
        </pc:sldMkLst>
        <pc:spChg chg="mod">
          <ac:chgData name="Kogay, Inna" userId="287abc58-2c65-4621-bc3a-a205db4f29fe" providerId="ADAL" clId="{E92932A7-0E39-49FA-BDCE-EC51849FDA86}" dt="2021-11-23T03:47:04.998" v="951" actId="255"/>
          <ac:spMkLst>
            <pc:docMk/>
            <pc:sldMk cId="108610040" sldId="2145707095"/>
            <ac:spMk id="2" creationId="{6FE3B1A1-5EC2-0F43-ACD3-9B3D48D693B7}"/>
          </ac:spMkLst>
        </pc:spChg>
        <pc:spChg chg="mod">
          <ac:chgData name="Kogay, Inna" userId="287abc58-2c65-4621-bc3a-a205db4f29fe" providerId="ADAL" clId="{E92932A7-0E39-49FA-BDCE-EC51849FDA86}" dt="2021-11-23T03:46:08.962" v="945" actId="2710"/>
          <ac:spMkLst>
            <pc:docMk/>
            <pc:sldMk cId="108610040" sldId="2145707095"/>
            <ac:spMk id="9" creationId="{D8D1B98C-A81B-4941-B763-25D8E8778BFC}"/>
          </ac:spMkLst>
        </pc:spChg>
        <pc:spChg chg="mod">
          <ac:chgData name="Kogay, Inna" userId="287abc58-2c65-4621-bc3a-a205db4f29fe" providerId="ADAL" clId="{E92932A7-0E39-49FA-BDCE-EC51849FDA86}" dt="2021-11-23T04:34:03.178" v="1314" actId="313"/>
          <ac:spMkLst>
            <pc:docMk/>
            <pc:sldMk cId="108610040" sldId="2145707095"/>
            <ac:spMk id="13" creationId="{97C2DE4D-238E-46FB-A9D1-4F94B3102E22}"/>
          </ac:spMkLst>
        </pc:spChg>
        <pc:spChg chg="mod">
          <ac:chgData name="Kogay, Inna" userId="287abc58-2c65-4621-bc3a-a205db4f29fe" providerId="ADAL" clId="{E92932A7-0E39-49FA-BDCE-EC51849FDA86}" dt="2021-11-23T04:33:52.175" v="1312" actId="20577"/>
          <ac:spMkLst>
            <pc:docMk/>
            <pc:sldMk cId="108610040" sldId="2145707095"/>
            <ac:spMk id="16" creationId="{3B0ED492-D018-4F76-9D36-6B0AB5C6B31F}"/>
          </ac:spMkLst>
        </pc:spChg>
        <pc:spChg chg="add mod">
          <ac:chgData name="Kogay, Inna" userId="287abc58-2c65-4621-bc3a-a205db4f29fe" providerId="ADAL" clId="{E92932A7-0E39-49FA-BDCE-EC51849FDA86}" dt="2021-11-23T03:54:49.980" v="1050" actId="14100"/>
          <ac:spMkLst>
            <pc:docMk/>
            <pc:sldMk cId="108610040" sldId="2145707095"/>
            <ac:spMk id="18" creationId="{96E5C5F4-64B6-4B6C-80C9-537DFE4B404A}"/>
          </ac:spMkLst>
        </pc:spChg>
        <pc:spChg chg="mod">
          <ac:chgData name="Kogay, Inna" userId="287abc58-2c65-4621-bc3a-a205db4f29fe" providerId="ADAL" clId="{E92932A7-0E39-49FA-BDCE-EC51849FDA86}" dt="2021-11-23T03:53:59.781" v="1041" actId="1076"/>
          <ac:spMkLst>
            <pc:docMk/>
            <pc:sldMk cId="108610040" sldId="2145707095"/>
            <ac:spMk id="20" creationId="{4289E4CE-A5B5-49D0-9B19-5B62D13D426E}"/>
          </ac:spMkLst>
        </pc:spChg>
        <pc:spChg chg="mod">
          <ac:chgData name="Kogay, Inna" userId="287abc58-2c65-4621-bc3a-a205db4f29fe" providerId="ADAL" clId="{E92932A7-0E39-49FA-BDCE-EC51849FDA86}" dt="2021-11-23T03:54:05.954" v="1043" actId="14100"/>
          <ac:spMkLst>
            <pc:docMk/>
            <pc:sldMk cId="108610040" sldId="2145707095"/>
            <ac:spMk id="21" creationId="{7D1ADB63-210B-47A1-949B-343651F10038}"/>
          </ac:spMkLst>
        </pc:spChg>
        <pc:spChg chg="mod">
          <ac:chgData name="Kogay, Inna" userId="287abc58-2c65-4621-bc3a-a205db4f29fe" providerId="ADAL" clId="{E92932A7-0E39-49FA-BDCE-EC51849FDA86}" dt="2021-11-23T03:54:54.503" v="1051" actId="14100"/>
          <ac:spMkLst>
            <pc:docMk/>
            <pc:sldMk cId="108610040" sldId="2145707095"/>
            <ac:spMk id="26" creationId="{85059B97-E938-4DCE-9C40-E9508963DE60}"/>
          </ac:spMkLst>
        </pc:spChg>
        <pc:spChg chg="mod">
          <ac:chgData name="Kogay, Inna" userId="287abc58-2c65-4621-bc3a-a205db4f29fe" providerId="ADAL" clId="{E92932A7-0E39-49FA-BDCE-EC51849FDA86}" dt="2021-11-23T03:52:42.845" v="1027"/>
          <ac:spMkLst>
            <pc:docMk/>
            <pc:sldMk cId="108610040" sldId="2145707095"/>
            <ac:spMk id="27" creationId="{DC3C3D05-5B4F-485F-8A6F-A0400A7C25D2}"/>
          </ac:spMkLst>
        </pc:spChg>
        <pc:grpChg chg="add del mod">
          <ac:chgData name="Kogay, Inna" userId="287abc58-2c65-4621-bc3a-a205db4f29fe" providerId="ADAL" clId="{E92932A7-0E39-49FA-BDCE-EC51849FDA86}" dt="2021-11-23T03:55:06.976" v="1054" actId="478"/>
          <ac:grpSpMkLst>
            <pc:docMk/>
            <pc:sldMk cId="108610040" sldId="2145707095"/>
            <ac:grpSpMk id="22" creationId="{EA7C88C0-40EF-404A-A114-CF6488EB2B6C}"/>
          </ac:grpSpMkLst>
        </pc:grpChg>
        <pc:grpChg chg="del">
          <ac:chgData name="Kogay, Inna" userId="287abc58-2c65-4621-bc3a-a205db4f29fe" providerId="ADAL" clId="{E92932A7-0E39-49FA-BDCE-EC51849FDA86}" dt="2021-11-23T03:41:12.682" v="786" actId="478"/>
          <ac:grpSpMkLst>
            <pc:docMk/>
            <pc:sldMk cId="108610040" sldId="2145707095"/>
            <ac:grpSpMk id="24" creationId="{2086A678-B2B9-449A-A59D-0CB326611865}"/>
          </ac:grpSpMkLst>
        </pc:grpChg>
        <pc:grpChg chg="mod">
          <ac:chgData name="Kogay, Inna" userId="287abc58-2c65-4621-bc3a-a205db4f29fe" providerId="ADAL" clId="{E92932A7-0E39-49FA-BDCE-EC51849FDA86}" dt="2021-11-23T03:54:58.026" v="1052" actId="14100"/>
          <ac:grpSpMkLst>
            <pc:docMk/>
            <pc:sldMk cId="108610040" sldId="2145707095"/>
            <ac:grpSpMk id="29" creationId="{3EC567AF-3010-4797-B3BC-B73BB5DD945E}"/>
          </ac:grpSpMkLst>
        </pc:grpChg>
        <pc:picChg chg="del mod">
          <ac:chgData name="Kogay, Inna" userId="287abc58-2c65-4621-bc3a-a205db4f29fe" providerId="ADAL" clId="{E92932A7-0E39-49FA-BDCE-EC51849FDA86}" dt="2021-11-23T03:42:39.565" v="923" actId="478"/>
          <ac:picMkLst>
            <pc:docMk/>
            <pc:sldMk cId="108610040" sldId="2145707095"/>
            <ac:picMk id="19" creationId="{419FBF59-46FC-4BD8-ACEC-B5A3763E7884}"/>
          </ac:picMkLst>
        </pc:picChg>
        <pc:picChg chg="mod">
          <ac:chgData name="Kogay, Inna" userId="287abc58-2c65-4621-bc3a-a205db4f29fe" providerId="ADAL" clId="{E92932A7-0E39-49FA-BDCE-EC51849FDA86}" dt="2021-11-23T03:52:42.845" v="1027"/>
          <ac:picMkLst>
            <pc:docMk/>
            <pc:sldMk cId="108610040" sldId="2145707095"/>
            <ac:picMk id="28" creationId="{39D2C6FD-48B3-45DD-924E-ED52186D67A8}"/>
          </ac:picMkLst>
        </pc:picChg>
      </pc:sldChg>
      <pc:sldChg chg="modSp del mod">
        <pc:chgData name="Kogay, Inna" userId="287abc58-2c65-4621-bc3a-a205db4f29fe" providerId="ADAL" clId="{E92932A7-0E39-49FA-BDCE-EC51849FDA86}" dt="2021-12-08T13:23:20.289" v="1360" actId="47"/>
        <pc:sldMkLst>
          <pc:docMk/>
          <pc:sldMk cId="2143237225" sldId="2145707096"/>
        </pc:sldMkLst>
        <pc:spChg chg="mod">
          <ac:chgData name="Kogay, Inna" userId="287abc58-2c65-4621-bc3a-a205db4f29fe" providerId="ADAL" clId="{E92932A7-0E39-49FA-BDCE-EC51849FDA86}" dt="2021-11-23T03:31:44.245" v="86" actId="1076"/>
          <ac:spMkLst>
            <pc:docMk/>
            <pc:sldMk cId="2143237225" sldId="2145707096"/>
            <ac:spMk id="2" creationId="{726ABE52-2C3A-4053-A5FD-E45BB16E8F8F}"/>
          </ac:spMkLst>
        </pc:spChg>
        <pc:spChg chg="mod">
          <ac:chgData name="Kogay, Inna" userId="287abc58-2c65-4621-bc3a-a205db4f29fe" providerId="ADAL" clId="{E92932A7-0E39-49FA-BDCE-EC51849FDA86}" dt="2021-11-23T03:40:54.083" v="785" actId="20577"/>
          <ac:spMkLst>
            <pc:docMk/>
            <pc:sldMk cId="2143237225" sldId="2145707096"/>
            <ac:spMk id="7" creationId="{CCB633C8-6433-4466-841C-7EBCCC5B675D}"/>
          </ac:spMkLst>
        </pc:spChg>
      </pc:sldChg>
      <pc:sldChg chg="addSp delSp modSp del mod">
        <pc:chgData name="Kogay, Inna" userId="287abc58-2c65-4621-bc3a-a205db4f29fe" providerId="ADAL" clId="{E92932A7-0E39-49FA-BDCE-EC51849FDA86}" dt="2021-12-09T04:18:34.258" v="1465" actId="47"/>
        <pc:sldMkLst>
          <pc:docMk/>
          <pc:sldMk cId="2701372629" sldId="2145707097"/>
        </pc:sldMkLst>
        <pc:spChg chg="mod">
          <ac:chgData name="Kogay, Inna" userId="287abc58-2c65-4621-bc3a-a205db4f29fe" providerId="ADAL" clId="{E92932A7-0E39-49FA-BDCE-EC51849FDA86}" dt="2021-11-23T03:52:00.358" v="1024" actId="1076"/>
          <ac:spMkLst>
            <pc:docMk/>
            <pc:sldMk cId="2701372629" sldId="2145707097"/>
            <ac:spMk id="10" creationId="{FCF5568B-84A3-4A76-A94D-F32A2DCFA4A8}"/>
          </ac:spMkLst>
        </pc:spChg>
        <pc:spChg chg="mod">
          <ac:chgData name="Kogay, Inna" userId="287abc58-2c65-4621-bc3a-a205db4f29fe" providerId="ADAL" clId="{E92932A7-0E39-49FA-BDCE-EC51849FDA86}" dt="2021-11-23T03:56:13.434" v="1065" actId="14100"/>
          <ac:spMkLst>
            <pc:docMk/>
            <pc:sldMk cId="2701372629" sldId="2145707097"/>
            <ac:spMk id="12" creationId="{A34D6AA0-CA1B-4E07-B9EC-443264462E9A}"/>
          </ac:spMkLst>
        </pc:spChg>
        <pc:spChg chg="mod topLvl">
          <ac:chgData name="Kogay, Inna" userId="287abc58-2c65-4621-bc3a-a205db4f29fe" providerId="ADAL" clId="{E92932A7-0E39-49FA-BDCE-EC51849FDA86}" dt="2021-12-09T04:13:18.410" v="1379" actId="14861"/>
          <ac:spMkLst>
            <pc:docMk/>
            <pc:sldMk cId="2701372629" sldId="2145707097"/>
            <ac:spMk id="15" creationId="{76D5242E-9EF5-460F-96D2-52E2C7525D71}"/>
          </ac:spMkLst>
        </pc:spChg>
        <pc:spChg chg="mod">
          <ac:chgData name="Kogay, Inna" userId="287abc58-2c65-4621-bc3a-a205db4f29fe" providerId="ADAL" clId="{E92932A7-0E39-49FA-BDCE-EC51849FDA86}" dt="2021-11-23T03:49:12.534" v="972" actId="1076"/>
          <ac:spMkLst>
            <pc:docMk/>
            <pc:sldMk cId="2701372629" sldId="2145707097"/>
            <ac:spMk id="17" creationId="{D80FCAD3-46ED-4618-9D45-7F0A34EBDD7B}"/>
          </ac:spMkLst>
        </pc:spChg>
        <pc:spChg chg="mod">
          <ac:chgData name="Kogay, Inna" userId="287abc58-2c65-4621-bc3a-a205db4f29fe" providerId="ADAL" clId="{E92932A7-0E39-49FA-BDCE-EC51849FDA86}" dt="2021-12-03T10:51:39.526" v="1316" actId="20577"/>
          <ac:spMkLst>
            <pc:docMk/>
            <pc:sldMk cId="2701372629" sldId="2145707097"/>
            <ac:spMk id="18" creationId="{E75F2FD1-2B85-44DC-A246-6F842289462B}"/>
          </ac:spMkLst>
        </pc:spChg>
        <pc:spChg chg="del mod">
          <ac:chgData name="Kogay, Inna" userId="287abc58-2c65-4621-bc3a-a205db4f29fe" providerId="ADAL" clId="{E92932A7-0E39-49FA-BDCE-EC51849FDA86}" dt="2021-11-23T03:55:29.655" v="1058" actId="478"/>
          <ac:spMkLst>
            <pc:docMk/>
            <pc:sldMk cId="2701372629" sldId="2145707097"/>
            <ac:spMk id="21" creationId="{47E9DF5E-F7C3-41DA-8948-D9D5C657585A}"/>
          </ac:spMkLst>
        </pc:spChg>
        <pc:grpChg chg="del mod">
          <ac:chgData name="Kogay, Inna" userId="287abc58-2c65-4621-bc3a-a205db4f29fe" providerId="ADAL" clId="{E92932A7-0E39-49FA-BDCE-EC51849FDA86}" dt="2021-12-09T04:12:29.901" v="1374" actId="165"/>
          <ac:grpSpMkLst>
            <pc:docMk/>
            <pc:sldMk cId="2701372629" sldId="2145707097"/>
            <ac:grpSpMk id="16" creationId="{C2D936BC-7384-4E92-BC45-BF9991C27C7D}"/>
          </ac:grpSpMkLst>
        </pc:grpChg>
        <pc:picChg chg="add del mod">
          <ac:chgData name="Kogay, Inna" userId="287abc58-2c65-4621-bc3a-a205db4f29fe" providerId="ADAL" clId="{E92932A7-0E39-49FA-BDCE-EC51849FDA86}" dt="2021-12-03T10:51:49.495" v="1320" actId="478"/>
          <ac:picMkLst>
            <pc:docMk/>
            <pc:sldMk cId="2701372629" sldId="2145707097"/>
            <ac:picMk id="3" creationId="{BAD391CF-9C63-4577-BBC6-29F141926372}"/>
          </ac:picMkLst>
        </pc:picChg>
        <pc:picChg chg="mod">
          <ac:chgData name="Kogay, Inna" userId="287abc58-2c65-4621-bc3a-a205db4f29fe" providerId="ADAL" clId="{E92932A7-0E39-49FA-BDCE-EC51849FDA86}" dt="2021-11-23T03:56:01.556" v="1064" actId="1076"/>
          <ac:picMkLst>
            <pc:docMk/>
            <pc:sldMk cId="2701372629" sldId="2145707097"/>
            <ac:picMk id="8" creationId="{B85D20AB-ED8D-45BF-8CF9-7F0F89DF7557}"/>
          </ac:picMkLst>
        </pc:picChg>
        <pc:picChg chg="add mod">
          <ac:chgData name="Kogay, Inna" userId="287abc58-2c65-4621-bc3a-a205db4f29fe" providerId="ADAL" clId="{E92932A7-0E39-49FA-BDCE-EC51849FDA86}" dt="2021-11-23T04:03:47.147" v="1087" actId="339"/>
          <ac:picMkLst>
            <pc:docMk/>
            <pc:sldMk cId="2701372629" sldId="2145707097"/>
            <ac:picMk id="13" creationId="{387A2F37-C891-458F-8CBA-51DE2441B93B}"/>
          </ac:picMkLst>
        </pc:picChg>
        <pc:picChg chg="mod topLvl">
          <ac:chgData name="Kogay, Inna" userId="287abc58-2c65-4621-bc3a-a205db4f29fe" providerId="ADAL" clId="{E92932A7-0E39-49FA-BDCE-EC51849FDA86}" dt="2021-12-09T04:13:18.410" v="1379" actId="14861"/>
          <ac:picMkLst>
            <pc:docMk/>
            <pc:sldMk cId="2701372629" sldId="2145707097"/>
            <ac:picMk id="14" creationId="{1259DC30-C0F3-4A46-90D1-C0082DEA450C}"/>
          </ac:picMkLst>
        </pc:picChg>
      </pc:sldChg>
      <pc:sldChg chg="addSp delSp modSp new mod">
        <pc:chgData name="Kogay, Inna" userId="287abc58-2c65-4621-bc3a-a205db4f29fe" providerId="ADAL" clId="{E92932A7-0E39-49FA-BDCE-EC51849FDA86}" dt="2021-12-10T09:44:29.845" v="1884" actId="20577"/>
        <pc:sldMkLst>
          <pc:docMk/>
          <pc:sldMk cId="2737049787" sldId="2145707098"/>
        </pc:sldMkLst>
        <pc:spChg chg="del mod">
          <ac:chgData name="Kogay, Inna" userId="287abc58-2c65-4621-bc3a-a205db4f29fe" providerId="ADAL" clId="{E92932A7-0E39-49FA-BDCE-EC51849FDA86}" dt="2021-12-08T13:19:55.938" v="1332" actId="478"/>
          <ac:spMkLst>
            <pc:docMk/>
            <pc:sldMk cId="2737049787" sldId="2145707098"/>
            <ac:spMk id="2" creationId="{EDC9DDF4-643C-4B5A-9B51-CCC4DFD1BE73}"/>
          </ac:spMkLst>
        </pc:spChg>
        <pc:spChg chg="del mod">
          <ac:chgData name="Kogay, Inna" userId="287abc58-2c65-4621-bc3a-a205db4f29fe" providerId="ADAL" clId="{E92932A7-0E39-49FA-BDCE-EC51849FDA86}" dt="2021-12-08T13:20:47.056" v="1343" actId="478"/>
          <ac:spMkLst>
            <pc:docMk/>
            <pc:sldMk cId="2737049787" sldId="2145707098"/>
            <ac:spMk id="3" creationId="{DF5A31E3-7281-4C5B-BEB1-0252E9837447}"/>
          </ac:spMkLst>
        </pc:spChg>
        <pc:spChg chg="del mod">
          <ac:chgData name="Kogay, Inna" userId="287abc58-2c65-4621-bc3a-a205db4f29fe" providerId="ADAL" clId="{E92932A7-0E39-49FA-BDCE-EC51849FDA86}" dt="2021-12-08T13:20:07.601" v="1338" actId="478"/>
          <ac:spMkLst>
            <pc:docMk/>
            <pc:sldMk cId="2737049787" sldId="2145707098"/>
            <ac:spMk id="4" creationId="{925DBD88-F7FD-4169-8B9C-6816CAFBB9BB}"/>
          </ac:spMkLst>
        </pc:spChg>
        <pc:spChg chg="del mod">
          <ac:chgData name="Kogay, Inna" userId="287abc58-2c65-4621-bc3a-a205db4f29fe" providerId="ADAL" clId="{E92932A7-0E39-49FA-BDCE-EC51849FDA86}" dt="2021-12-08T13:20:04.545" v="1336" actId="478"/>
          <ac:spMkLst>
            <pc:docMk/>
            <pc:sldMk cId="2737049787" sldId="2145707098"/>
            <ac:spMk id="5" creationId="{5145AB79-EE94-4BDA-8BA3-977032F1DBE4}"/>
          </ac:spMkLst>
        </pc:spChg>
        <pc:spChg chg="del mod">
          <ac:chgData name="Kogay, Inna" userId="287abc58-2c65-4621-bc3a-a205db4f29fe" providerId="ADAL" clId="{E92932A7-0E39-49FA-BDCE-EC51849FDA86}" dt="2021-12-08T13:20:10.657" v="1340" actId="478"/>
          <ac:spMkLst>
            <pc:docMk/>
            <pc:sldMk cId="2737049787" sldId="2145707098"/>
            <ac:spMk id="6" creationId="{871A6F7B-87AA-4752-9842-1B6BBAD6DE49}"/>
          </ac:spMkLst>
        </pc:spChg>
        <pc:spChg chg="del mod">
          <ac:chgData name="Kogay, Inna" userId="287abc58-2c65-4621-bc3a-a205db4f29fe" providerId="ADAL" clId="{E92932A7-0E39-49FA-BDCE-EC51849FDA86}" dt="2021-12-08T13:20:01.025" v="1334" actId="478"/>
          <ac:spMkLst>
            <pc:docMk/>
            <pc:sldMk cId="2737049787" sldId="2145707098"/>
            <ac:spMk id="7" creationId="{373AE6B4-396D-432B-96FF-C78A0B05FA0E}"/>
          </ac:spMkLst>
        </pc:spChg>
        <pc:graphicFrameChg chg="add mod modGraphic">
          <ac:chgData name="Kogay, Inna" userId="287abc58-2c65-4621-bc3a-a205db4f29fe" providerId="ADAL" clId="{E92932A7-0E39-49FA-BDCE-EC51849FDA86}" dt="2021-12-10T09:44:29.845" v="1884" actId="20577"/>
          <ac:graphicFrameMkLst>
            <pc:docMk/>
            <pc:sldMk cId="2737049787" sldId="2145707098"/>
            <ac:graphicFrameMk id="8" creationId="{5E53B5E3-B6CC-4AAE-8540-A7532FFAAB13}"/>
          </ac:graphicFrameMkLst>
        </pc:graphicFrameChg>
      </pc:sldChg>
      <pc:sldChg chg="addSp delSp modSp new mod">
        <pc:chgData name="Kogay, Inna" userId="287abc58-2c65-4621-bc3a-a205db4f29fe" providerId="ADAL" clId="{E92932A7-0E39-49FA-BDCE-EC51849FDA86}" dt="2021-12-24T09:42:10.441" v="1968" actId="20577"/>
        <pc:sldMkLst>
          <pc:docMk/>
          <pc:sldMk cId="3518783918" sldId="2145707099"/>
        </pc:sldMkLst>
        <pc:spChg chg="del mod">
          <ac:chgData name="Kogay, Inna" userId="287abc58-2c65-4621-bc3a-a205db4f29fe" providerId="ADAL" clId="{E92932A7-0E39-49FA-BDCE-EC51849FDA86}" dt="2021-12-09T04:18:16.804" v="1463" actId="478"/>
          <ac:spMkLst>
            <pc:docMk/>
            <pc:sldMk cId="3518783918" sldId="2145707099"/>
            <ac:spMk id="3" creationId="{B5EC209B-6148-49D9-9D51-1999A0467ED7}"/>
          </ac:spMkLst>
        </pc:spChg>
        <pc:spChg chg="add mod ord topLvl">
          <ac:chgData name="Kogay, Inna" userId="287abc58-2c65-4621-bc3a-a205db4f29fe" providerId="ADAL" clId="{E92932A7-0E39-49FA-BDCE-EC51849FDA86}" dt="2021-12-10T09:50:39.017" v="1937" actId="338"/>
          <ac:spMkLst>
            <pc:docMk/>
            <pc:sldMk cId="3518783918" sldId="2145707099"/>
            <ac:spMk id="13" creationId="{41962B8C-4E6E-490A-9C0F-905BC8C8C11B}"/>
          </ac:spMkLst>
        </pc:spChg>
        <pc:grpChg chg="add del mod">
          <ac:chgData name="Kogay, Inna" userId="287abc58-2c65-4621-bc3a-a205db4f29fe" providerId="ADAL" clId="{E92932A7-0E39-49FA-BDCE-EC51849FDA86}" dt="2021-12-10T09:50:32.022" v="1936" actId="165"/>
          <ac:grpSpMkLst>
            <pc:docMk/>
            <pc:sldMk cId="3518783918" sldId="2145707099"/>
            <ac:grpSpMk id="16" creationId="{ADBB62DB-EE99-4EF6-B6E2-0A8E0D07A2B6}"/>
          </ac:grpSpMkLst>
        </pc:grpChg>
        <pc:grpChg chg="add mod">
          <ac:chgData name="Kogay, Inna" userId="287abc58-2c65-4621-bc3a-a205db4f29fe" providerId="ADAL" clId="{E92932A7-0E39-49FA-BDCE-EC51849FDA86}" dt="2021-12-23T15:29:33.531" v="1964" actId="14100"/>
          <ac:grpSpMkLst>
            <pc:docMk/>
            <pc:sldMk cId="3518783918" sldId="2145707099"/>
            <ac:grpSpMk id="18" creationId="{1201A7DF-751E-4FF6-9C46-99DD8CDC9821}"/>
          </ac:grpSpMkLst>
        </pc:grpChg>
        <pc:grpChg chg="mod">
          <ac:chgData name="Kogay, Inna" userId="287abc58-2c65-4621-bc3a-a205db4f29fe" providerId="ADAL" clId="{E92932A7-0E39-49FA-BDCE-EC51849FDA86}" dt="2021-12-23T15:21:52.034" v="1948" actId="1076"/>
          <ac:grpSpMkLst>
            <pc:docMk/>
            <pc:sldMk cId="3518783918" sldId="2145707099"/>
            <ac:grpSpMk id="19" creationId="{FBCADDF1-FBF7-4058-9F54-95BA5FADB94C}"/>
          </ac:grpSpMkLst>
        </pc:grpChg>
        <pc:graphicFrameChg chg="add mod modGraphic">
          <ac:chgData name="Kogay, Inna" userId="287abc58-2c65-4621-bc3a-a205db4f29fe" providerId="ADAL" clId="{E92932A7-0E39-49FA-BDCE-EC51849FDA86}" dt="2021-12-24T09:42:10.441" v="1968" actId="20577"/>
          <ac:graphicFrameMkLst>
            <pc:docMk/>
            <pc:sldMk cId="3518783918" sldId="2145707099"/>
            <ac:graphicFrameMk id="8" creationId="{B83296F0-8EDA-42B2-8275-0F179B8C7335}"/>
          </ac:graphicFrameMkLst>
        </pc:graphicFrameChg>
        <pc:picChg chg="mod">
          <ac:chgData name="Kogay, Inna" userId="287abc58-2c65-4621-bc3a-a205db4f29fe" providerId="ADAL" clId="{E92932A7-0E39-49FA-BDCE-EC51849FDA86}" dt="2021-12-23T15:24:28.372" v="1957" actId="14100"/>
          <ac:picMkLst>
            <pc:docMk/>
            <pc:sldMk cId="3518783918" sldId="2145707099"/>
            <ac:picMk id="3" creationId="{B470888F-1E22-4813-A34A-E2D3E1CC38AD}"/>
          </ac:picMkLst>
        </pc:picChg>
        <pc:picChg chg="add del mod modCrop">
          <ac:chgData name="Kogay, Inna" userId="287abc58-2c65-4621-bc3a-a205db4f29fe" providerId="ADAL" clId="{E92932A7-0E39-49FA-BDCE-EC51849FDA86}" dt="2021-12-09T04:13:26.267" v="1382" actId="478"/>
          <ac:picMkLst>
            <pc:docMk/>
            <pc:sldMk cId="3518783918" sldId="2145707099"/>
            <ac:picMk id="9" creationId="{933ED2A9-B50B-4A2C-BFF6-F3AF12B73D64}"/>
          </ac:picMkLst>
        </pc:picChg>
        <pc:picChg chg="add mod">
          <ac:chgData name="Kogay, Inna" userId="287abc58-2c65-4621-bc3a-a205db4f29fe" providerId="ADAL" clId="{E92932A7-0E39-49FA-BDCE-EC51849FDA86}" dt="2021-12-23T15:24:04.013" v="1954" actId="14100"/>
          <ac:picMkLst>
            <pc:docMk/>
            <pc:sldMk cId="3518783918" sldId="2145707099"/>
            <ac:picMk id="10" creationId="{52705331-758D-4CB3-884E-32946362E1DC}"/>
          </ac:picMkLst>
        </pc:picChg>
        <pc:picChg chg="add mod ord topLvl modCrop">
          <ac:chgData name="Kogay, Inna" userId="287abc58-2c65-4621-bc3a-a205db4f29fe" providerId="ADAL" clId="{E92932A7-0E39-49FA-BDCE-EC51849FDA86}" dt="2021-12-10T09:50:39.017" v="1937" actId="338"/>
          <ac:picMkLst>
            <pc:docMk/>
            <pc:sldMk cId="3518783918" sldId="2145707099"/>
            <ac:picMk id="11" creationId="{F5C020A0-5B9A-4D56-A208-7D0A40C4A62A}"/>
          </ac:picMkLst>
        </pc:picChg>
        <pc:picChg chg="mod">
          <ac:chgData name="Kogay, Inna" userId="287abc58-2c65-4621-bc3a-a205db4f29fe" providerId="ADAL" clId="{E92932A7-0E39-49FA-BDCE-EC51849FDA86}" dt="2021-12-23T15:21:22.952" v="1946" actId="14100"/>
          <ac:picMkLst>
            <pc:docMk/>
            <pc:sldMk cId="3518783918" sldId="2145707099"/>
            <ac:picMk id="12" creationId="{FB9CF5B5-C8BC-497E-94A1-6CCC317C2774}"/>
          </ac:picMkLst>
        </pc:picChg>
        <pc:picChg chg="mod">
          <ac:chgData name="Kogay, Inna" userId="287abc58-2c65-4621-bc3a-a205db4f29fe" providerId="ADAL" clId="{E92932A7-0E39-49FA-BDCE-EC51849FDA86}" dt="2021-12-23T15:25:10.696" v="1960" actId="14100"/>
          <ac:picMkLst>
            <pc:docMk/>
            <pc:sldMk cId="3518783918" sldId="2145707099"/>
            <ac:picMk id="14" creationId="{FB293D57-1BF0-431C-964A-09983B4BCFC6}"/>
          </ac:picMkLst>
        </pc:picChg>
        <pc:picChg chg="del mod">
          <ac:chgData name="Kogay, Inna" userId="287abc58-2c65-4621-bc3a-a205db4f29fe" providerId="ADAL" clId="{E92932A7-0E39-49FA-BDCE-EC51849FDA86}" dt="2021-12-10T09:48:50.247" v="1918" actId="478"/>
          <ac:picMkLst>
            <pc:docMk/>
            <pc:sldMk cId="3518783918" sldId="2145707099"/>
            <ac:picMk id="15" creationId="{34838974-B107-4457-83EA-526F6A0B573A}"/>
          </ac:picMkLst>
        </pc:picChg>
        <pc:picChg chg="mod">
          <ac:chgData name="Kogay, Inna" userId="287abc58-2c65-4621-bc3a-a205db4f29fe" providerId="ADAL" clId="{E92932A7-0E39-49FA-BDCE-EC51849FDA86}" dt="2021-12-23T15:25:00.009" v="1959" actId="14100"/>
          <ac:picMkLst>
            <pc:docMk/>
            <pc:sldMk cId="3518783918" sldId="2145707099"/>
            <ac:picMk id="17" creationId="{E94B6379-D594-469A-A851-3E4F703BFD1C}"/>
          </ac:picMkLst>
        </pc:picChg>
        <pc:picChg chg="mod">
          <ac:chgData name="Kogay, Inna" userId="287abc58-2c65-4621-bc3a-a205db4f29fe" providerId="ADAL" clId="{E92932A7-0E39-49FA-BDCE-EC51849FDA86}" dt="2021-12-23T15:24:49.814" v="1958" actId="14100"/>
          <ac:picMkLst>
            <pc:docMk/>
            <pc:sldMk cId="3518783918" sldId="2145707099"/>
            <ac:picMk id="2050" creationId="{81BCCABC-1DA4-4648-B2BA-F179558EF8CD}"/>
          </ac:picMkLst>
        </pc:picChg>
      </pc:sldChg>
    </pc:docChg>
  </pc:docChgLst>
  <pc:docChgLst>
    <pc:chgData name="Kogay, Inna" userId="287abc58-2c65-4621-bc3a-a205db4f29fe" providerId="ADAL" clId="{2FEEF156-994D-443B-9C3E-02139B759203}"/>
    <pc:docChg chg="undo custSel addSld delSld modSld sldOrd">
      <pc:chgData name="Kogay, Inna" userId="287abc58-2c65-4621-bc3a-a205db4f29fe" providerId="ADAL" clId="{2FEEF156-994D-443B-9C3E-02139B759203}" dt="2022-01-31T06:49:23.154" v="49" actId="2696"/>
      <pc:docMkLst>
        <pc:docMk/>
      </pc:docMkLst>
      <pc:sldChg chg="modSp mod">
        <pc:chgData name="Kogay, Inna" userId="287abc58-2c65-4621-bc3a-a205db4f29fe" providerId="ADAL" clId="{2FEEF156-994D-443B-9C3E-02139B759203}" dt="2022-01-28T08:24:32.072" v="33" actId="1076"/>
        <pc:sldMkLst>
          <pc:docMk/>
          <pc:sldMk cId="202488608" sldId="2145707093"/>
        </pc:sldMkLst>
        <pc:spChg chg="mod">
          <ac:chgData name="Kogay, Inna" userId="287abc58-2c65-4621-bc3a-a205db4f29fe" providerId="ADAL" clId="{2FEEF156-994D-443B-9C3E-02139B759203}" dt="2022-01-24T08:00:38.876" v="4" actId="20577"/>
          <ac:spMkLst>
            <pc:docMk/>
            <pc:sldMk cId="202488608" sldId="2145707093"/>
            <ac:spMk id="2" creationId="{6FE3B1A1-5EC2-0F43-ACD3-9B3D48D693B7}"/>
          </ac:spMkLst>
        </pc:spChg>
        <pc:picChg chg="mod">
          <ac:chgData name="Kogay, Inna" userId="287abc58-2c65-4621-bc3a-a205db4f29fe" providerId="ADAL" clId="{2FEEF156-994D-443B-9C3E-02139B759203}" dt="2022-01-28T08:24:32.072" v="33" actId="1076"/>
          <ac:picMkLst>
            <pc:docMk/>
            <pc:sldMk cId="202488608" sldId="2145707093"/>
            <ac:picMk id="10" creationId="{9403159C-0E25-F04E-A62E-2D5D21C0F96F}"/>
          </ac:picMkLst>
        </pc:picChg>
      </pc:sldChg>
      <pc:sldChg chg="modSp del mod">
        <pc:chgData name="Kogay, Inna" userId="287abc58-2c65-4621-bc3a-a205db4f29fe" providerId="ADAL" clId="{2FEEF156-994D-443B-9C3E-02139B759203}" dt="2022-01-28T08:21:36.757" v="14"/>
        <pc:sldMkLst>
          <pc:docMk/>
          <pc:sldMk cId="1247889763" sldId="2145707100"/>
        </pc:sldMkLst>
        <pc:picChg chg="mod">
          <ac:chgData name="Kogay, Inna" userId="287abc58-2c65-4621-bc3a-a205db4f29fe" providerId="ADAL" clId="{2FEEF156-994D-443B-9C3E-02139B759203}" dt="2022-01-28T08:21:36.534" v="13" actId="1076"/>
          <ac:picMkLst>
            <pc:docMk/>
            <pc:sldMk cId="1247889763" sldId="2145707100"/>
            <ac:picMk id="10" creationId="{9403159C-0E25-F04E-A62E-2D5D21C0F96F}"/>
          </ac:picMkLst>
        </pc:picChg>
      </pc:sldChg>
      <pc:sldChg chg="addSp delSp modSp del mod ord">
        <pc:chgData name="Kogay, Inna" userId="287abc58-2c65-4621-bc3a-a205db4f29fe" providerId="ADAL" clId="{2FEEF156-994D-443B-9C3E-02139B759203}" dt="2022-01-31T06:49:23.154" v="49" actId="2696"/>
        <pc:sldMkLst>
          <pc:docMk/>
          <pc:sldMk cId="3962698027" sldId="2145707100"/>
        </pc:sldMkLst>
        <pc:spChg chg="add mod">
          <ac:chgData name="Kogay, Inna" userId="287abc58-2c65-4621-bc3a-a205db4f29fe" providerId="ADAL" clId="{2FEEF156-994D-443B-9C3E-02139B759203}" dt="2022-01-28T08:24:09.992" v="32" actId="1076"/>
          <ac:spMkLst>
            <pc:docMk/>
            <pc:sldMk cId="3962698027" sldId="2145707100"/>
            <ac:spMk id="4" creationId="{8F133466-885B-4799-B628-5136AE297B57}"/>
          </ac:spMkLst>
        </pc:spChg>
        <pc:spChg chg="add del mod">
          <ac:chgData name="Kogay, Inna" userId="287abc58-2c65-4621-bc3a-a205db4f29fe" providerId="ADAL" clId="{2FEEF156-994D-443B-9C3E-02139B759203}" dt="2022-01-28T08:25:14.222" v="42" actId="478"/>
          <ac:spMkLst>
            <pc:docMk/>
            <pc:sldMk cId="3962698027" sldId="2145707100"/>
            <ac:spMk id="6" creationId="{0DF033EF-4347-4E98-9828-66FC4023E1BF}"/>
          </ac:spMkLst>
        </pc:spChg>
        <pc:graphicFrameChg chg="mod modGraphic">
          <ac:chgData name="Kogay, Inna" userId="287abc58-2c65-4621-bc3a-a205db4f29fe" providerId="ADAL" clId="{2FEEF156-994D-443B-9C3E-02139B759203}" dt="2022-01-31T06:45:17.089" v="48" actId="20577"/>
          <ac:graphicFrameMkLst>
            <pc:docMk/>
            <pc:sldMk cId="3962698027" sldId="2145707100"/>
            <ac:graphicFrameMk id="8" creationId="{5E53B5E3-B6CC-4AAE-8540-A7532FFAAB13}"/>
          </ac:graphicFrameMkLst>
        </pc:graphicFrameChg>
        <pc:picChg chg="add del mod">
          <ac:chgData name="Kogay, Inna" userId="287abc58-2c65-4621-bc3a-a205db4f29fe" providerId="ADAL" clId="{2FEEF156-994D-443B-9C3E-02139B759203}" dt="2022-01-28T08:25:08.996" v="39" actId="478"/>
          <ac:picMkLst>
            <pc:docMk/>
            <pc:sldMk cId="3962698027" sldId="2145707100"/>
            <ac:picMk id="5" creationId="{9CC8047B-C9F7-495E-BC62-3B60FE64680A}"/>
          </ac:picMkLst>
        </pc:picChg>
      </pc:sldChg>
      <pc:sldChg chg="add del">
        <pc:chgData name="Kogay, Inna" userId="287abc58-2c65-4621-bc3a-a205db4f29fe" providerId="ADAL" clId="{2FEEF156-994D-443B-9C3E-02139B759203}" dt="2022-01-28T08:22:25.630" v="17"/>
        <pc:sldMkLst>
          <pc:docMk/>
          <pc:sldMk cId="54851999" sldId="214570710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71E526-1879-4345-9B59-1BC0102CF011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5F93BD-D5D7-4E7D-929B-5F4D528734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852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5F93BD-D5D7-4E7D-929B-5F4D528734D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913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5F93BD-D5D7-4E7D-929B-5F4D528734D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565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JP" dirty="0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3362752"/>
            <a:ext cx="2251710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1330018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365018746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334C6D4B-D00D-0346-BC97-8DCE371C2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109843638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04153444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 dirty="0"/>
              <a:t>Insert Picture/Text Block</a:t>
            </a:r>
          </a:p>
          <a:p>
            <a:endParaRPr lang="en-JP" dirty="0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/Text Block</a:t>
            </a:r>
          </a:p>
          <a:p>
            <a:endParaRPr lang="en-US" dirty="0"/>
          </a:p>
          <a:p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47FD433F-488A-9D46-BDF0-87D0F082A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  <a:endParaRPr lang="en-JP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993042481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1" name="Picture 10" descr="Takeda">
            <a:extLst>
              <a:ext uri="{FF2B5EF4-FFF2-40B4-BE49-F238E27FC236}">
                <a16:creationId xmlns:a16="http://schemas.microsoft.com/office/drawing/2014/main" id="{7EBA21A8-EE4B-6E4B-A794-3FEA5B1599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749979304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pic>
        <p:nvPicPr>
          <p:cNvPr id="12" name="Picture 11" descr="Takeda">
            <a:extLst>
              <a:ext uri="{FF2B5EF4-FFF2-40B4-BE49-F238E27FC236}">
                <a16:creationId xmlns:a16="http://schemas.microsoft.com/office/drawing/2014/main" id="{5D7AA9CA-E651-9E48-B0F3-BDDA45B35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468476571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F183604A-2112-D443-8B35-2DFEE7121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170983102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0C4979BF-EBB2-214C-8087-7AC4B2163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719783185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JP" dirty="0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3362752"/>
            <a:ext cx="2251710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48971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74872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600321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523119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7827864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F83AE827-0C93-0344-8F1E-82C9D7F8CD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17" y="-10972"/>
            <a:ext cx="2251710" cy="12488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19044E-3CA3-8043-AF11-ED42DE4ECF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730" y="6367253"/>
            <a:ext cx="1958578" cy="11746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192725189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-8600"/>
            <a:ext cx="2251710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4080451985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39554864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57278020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123729729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 dirty="0"/>
              <a:t>Blank slid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4006725581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0E2D4ABB-BC5B-754B-B0DE-676246A385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992570713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1397373C-4723-444D-99E3-0FBCAFDAD4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017649024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600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4375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 spd="slow">
    <p:push dir="u"/>
  </p:transition>
  <p:hf hd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5.wdp"/><Relationship Id="rId3" Type="http://schemas.openxmlformats.org/officeDocument/2006/relationships/image" Target="../media/image7.png"/><Relationship Id="rId7" Type="http://schemas.microsoft.com/office/2007/relationships/hdphoto" Target="../media/hdphoto2.wdp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microsoft.com/office/2007/relationships/hdphoto" Target="../media/hdphoto6.wdp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microsoft.com/office/2007/relationships/hdphoto" Target="../media/hdphoto3.wdp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3B1A1-5EC2-0F43-ACD3-9B3D48D693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1367" y="2101307"/>
            <a:ext cx="5343231" cy="2337832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chemeClr val="accent5">
                    <a:lumMod val="10000"/>
                  </a:schemeClr>
                </a:solidFill>
              </a:rPr>
              <a:t>"</a:t>
            </a:r>
            <a:r>
              <a:rPr lang="ru-RU" dirty="0">
                <a:solidFill>
                  <a:schemeClr val="accent5">
                    <a:lumMod val="10000"/>
                  </a:schemeClr>
                </a:solidFill>
                <a:latin typeface="+mn-lt"/>
              </a:rPr>
              <a:t>Виртуальная школа пациентов с множественной миеломой" </a:t>
            </a:r>
            <a:br>
              <a:rPr lang="ru-RU" dirty="0">
                <a:solidFill>
                  <a:schemeClr val="accent5">
                    <a:lumMod val="10000"/>
                  </a:schemeClr>
                </a:solidFill>
                <a:latin typeface="+mn-lt"/>
              </a:rPr>
            </a:br>
            <a:r>
              <a:rPr lang="ru-RU" dirty="0">
                <a:solidFill>
                  <a:schemeClr val="accent5">
                    <a:lumMod val="10000"/>
                  </a:schemeClr>
                </a:solidFill>
                <a:latin typeface="+mn-lt"/>
              </a:rPr>
              <a:t>3</a:t>
            </a:r>
            <a:r>
              <a:rPr lang="ru-RU" dirty="0">
                <a:solidFill>
                  <a:schemeClr val="accent5">
                    <a:lumMod val="10000"/>
                  </a:schemeClr>
                </a:solidFill>
              </a:rPr>
              <a:t>.02.2022г.</a:t>
            </a:r>
            <a:endParaRPr lang="en-JP" dirty="0">
              <a:solidFill>
                <a:schemeClr val="accent5">
                  <a:lumMod val="10000"/>
                </a:schemeClr>
              </a:solidFill>
            </a:endParaRPr>
          </a:p>
        </p:txBody>
      </p:sp>
      <p:pic>
        <p:nvPicPr>
          <p:cNvPr id="10" name="Picture Placeholder 9" descr="A group of people sitting in a room&#10;&#10;Description automatically generated with low confidence">
            <a:extLst>
              <a:ext uri="{FF2B5EF4-FFF2-40B4-BE49-F238E27FC236}">
                <a16:creationId xmlns:a16="http://schemas.microsoft.com/office/drawing/2014/main" id="{9403159C-0E25-F04E-A62E-2D5D21C0F96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3"/>
          <a:stretch/>
        </p:blipFill>
        <p:spPr>
          <a:xfrm>
            <a:off x="6324598" y="223157"/>
            <a:ext cx="5867402" cy="6339840"/>
          </a:xfr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8D1B98C-A81B-4941-B763-25D8E8778BFC}"/>
              </a:ext>
            </a:extLst>
          </p:cNvPr>
          <p:cNvSpPr txBox="1"/>
          <p:nvPr/>
        </p:nvSpPr>
        <p:spPr>
          <a:xfrm>
            <a:off x="935650" y="887793"/>
            <a:ext cx="60939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メイリオ" pitchFamily="50" charset="-128"/>
                <a:cs typeface="Calibri" pitchFamily="34" charset="0"/>
              </a:rPr>
              <a:t>Программа</a:t>
            </a:r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8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5E53B5E3-B6CC-4AAE-8540-A7532FFAAB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390504"/>
              </p:ext>
            </p:extLst>
          </p:nvPr>
        </p:nvGraphicFramePr>
        <p:xfrm>
          <a:off x="1072896" y="1060704"/>
          <a:ext cx="10314432" cy="5658076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207008">
                  <a:extLst>
                    <a:ext uri="{9D8B030D-6E8A-4147-A177-3AD203B41FA5}">
                      <a16:colId xmlns:a16="http://schemas.microsoft.com/office/drawing/2014/main" val="2076097998"/>
                    </a:ext>
                  </a:extLst>
                </a:gridCol>
                <a:gridCol w="5937504">
                  <a:extLst>
                    <a:ext uri="{9D8B030D-6E8A-4147-A177-3AD203B41FA5}">
                      <a16:colId xmlns:a16="http://schemas.microsoft.com/office/drawing/2014/main" val="3311898131"/>
                    </a:ext>
                  </a:extLst>
                </a:gridCol>
                <a:gridCol w="3169920">
                  <a:extLst>
                    <a:ext uri="{9D8B030D-6E8A-4147-A177-3AD203B41FA5}">
                      <a16:colId xmlns:a16="http://schemas.microsoft.com/office/drawing/2014/main" val="2238840356"/>
                    </a:ext>
                  </a:extLst>
                </a:gridCol>
              </a:tblGrid>
              <a:tr h="428635">
                <a:tc gridSpan="3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одератор : </a:t>
                      </a:r>
                      <a:r>
                        <a:rPr lang="ru-RU" sz="16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ейшвили</a:t>
                      </a: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Марина </a:t>
                      </a:r>
                      <a:r>
                        <a:rPr lang="ru-RU" sz="16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уликовна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дератор – </a:t>
                      </a:r>
                      <a:r>
                        <a:rPr lang="ru-RU" sz="16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ейшвили</a:t>
                      </a: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.С.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75169674"/>
                  </a:ext>
                </a:extLst>
              </a:tr>
              <a:tr h="42863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 err="1">
                          <a:solidFill>
                            <a:schemeClr val="accent3"/>
                          </a:solidFill>
                          <a:effectLst/>
                        </a:rPr>
                        <a:t>Время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Тема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Спикер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11006726"/>
                  </a:ext>
                </a:extLst>
              </a:tr>
              <a:tr h="110109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8.30-18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0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Открыти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«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Школы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пациента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с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ножественой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иеломой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».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Приветственно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слово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президента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РОО «Ассоциация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инвалидов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-больных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областозами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». 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C</a:t>
                      </a:r>
                      <a:r>
                        <a:rPr lang="ru-RU" sz="1400" dirty="0" err="1">
                          <a:solidFill>
                            <a:schemeClr val="accent3"/>
                          </a:solidFill>
                          <a:effectLst/>
                        </a:rPr>
                        <a:t>егодня</a:t>
                      </a:r>
                      <a:r>
                        <a:rPr lang="ru-RU" sz="1400" dirty="0">
                          <a:solidFill>
                            <a:schemeClr val="accent3"/>
                          </a:solidFill>
                          <a:effectLst/>
                        </a:rPr>
                        <a:t>. Все вмест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.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Ахмедьярова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Л.А.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10747840"/>
                  </a:ext>
                </a:extLst>
              </a:tr>
              <a:tr h="42863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8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0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19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Что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тако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ножественная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иелома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Баландинская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И.Г. (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атолог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07418849"/>
                  </a:ext>
                </a:extLst>
              </a:tr>
              <a:tr h="55998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9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19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20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C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имптомы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ножественной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миеломы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и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их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влияни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на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качество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жизни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Габбасова С</a:t>
                      </a:r>
                      <a:r>
                        <a:rPr lang="ru-RU" sz="1400" dirty="0">
                          <a:solidFill>
                            <a:schemeClr val="accent3"/>
                          </a:solidFill>
                          <a:effectLst/>
                        </a:rPr>
                        <a:t>.Т. (гематолог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4852303"/>
                  </a:ext>
                </a:extLst>
              </a:tr>
              <a:tr h="42863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9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20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19.3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/>
                          </a:solidFill>
                          <a:effectLst/>
                        </a:rPr>
                        <a:t>Выбор между вариантами лечения 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Клодзинский А.А. (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атолог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38038417"/>
                  </a:ext>
                </a:extLst>
              </a:tr>
              <a:tr h="43259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9.3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19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0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accent3"/>
                          </a:solidFill>
                          <a:effectLst/>
                        </a:rPr>
                        <a:t>АутоТКМ</a:t>
                      </a:r>
                      <a:r>
                        <a:rPr lang="ru-RU" sz="1400" dirty="0">
                          <a:solidFill>
                            <a:schemeClr val="accent3"/>
                          </a:solidFill>
                          <a:effectLst/>
                        </a:rPr>
                        <a:t> как опция лечения пациентов с ММ. Часть 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I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Карабеков А.Б. (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атолог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37029532"/>
                  </a:ext>
                </a:extLst>
              </a:tr>
              <a:tr h="43259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19.5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0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20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chemeClr val="accent3"/>
                          </a:solidFill>
                          <a:effectLst/>
                        </a:rPr>
                        <a:t>АутоТКМ</a:t>
                      </a:r>
                      <a:r>
                        <a:rPr lang="ru-RU" sz="1400" dirty="0">
                          <a:solidFill>
                            <a:schemeClr val="accent3"/>
                          </a:solidFill>
                          <a:effectLst/>
                        </a:rPr>
                        <a:t> как опция лечения пациентов с ММ. Часть II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Кемайкин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В.М.(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атолог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88872023"/>
                  </a:ext>
                </a:extLst>
              </a:tr>
              <a:tr h="42863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20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20.3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accent3"/>
                          </a:solidFill>
                          <a:effectLst/>
                        </a:rPr>
                        <a:t>Ответы на часто задаваемые вопросы</a:t>
                      </a:r>
                      <a:endParaRPr lang="en-US" sz="140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Вс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гематологи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30514449"/>
                  </a:ext>
                </a:extLst>
              </a:tr>
              <a:tr h="55998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20.3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21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Вопросы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и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ответы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Чейшвили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М.С. (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социальный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работник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4686121"/>
                  </a:ext>
                </a:extLst>
              </a:tr>
              <a:tr h="42863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21.0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5</a:t>
                      </a:r>
                      <a:r>
                        <a:rPr lang="kk-KZ" sz="1600" b="1" dirty="0">
                          <a:solidFill>
                            <a:schemeClr val="accent3"/>
                          </a:solidFill>
                          <a:effectLst/>
                        </a:rPr>
                        <a:t>-21.</a:t>
                      </a:r>
                      <a:r>
                        <a:rPr lang="en-US" sz="1600" b="1" dirty="0">
                          <a:solidFill>
                            <a:schemeClr val="accent3"/>
                          </a:solidFill>
                          <a:effectLst/>
                        </a:rPr>
                        <a:t>15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Подведени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итогов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 </a:t>
                      </a: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школы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k-KZ" sz="1400" dirty="0" err="1">
                          <a:solidFill>
                            <a:schemeClr val="accent3"/>
                          </a:solidFill>
                          <a:effectLst/>
                        </a:rPr>
                        <a:t>Обсуждение</a:t>
                      </a:r>
                      <a:r>
                        <a:rPr lang="kk-KZ" sz="1400" dirty="0">
                          <a:solidFill>
                            <a:schemeClr val="accent3"/>
                          </a:solidFill>
                          <a:effectLst/>
                        </a:rPr>
                        <a:t>. 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82568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704978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A937B-0F42-4D00-8097-93814BDBF71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5CD3C-26ED-41F5-B11B-B6ED7F9D43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907DD3-EFEA-4B98-89D8-67FCF756322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92CA14-B510-4589-A30D-A5869BE2FD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5107EE-5B97-413D-A61B-70507379B43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B83296F0-8EDA-42B2-8275-0F179B8C7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82389"/>
              </p:ext>
            </p:extLst>
          </p:nvPr>
        </p:nvGraphicFramePr>
        <p:xfrm>
          <a:off x="1" y="0"/>
          <a:ext cx="11879996" cy="6819852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532996">
                  <a:extLst>
                    <a:ext uri="{9D8B030D-6E8A-4147-A177-3AD203B41FA5}">
                      <a16:colId xmlns:a16="http://schemas.microsoft.com/office/drawing/2014/main" val="2076097998"/>
                    </a:ext>
                  </a:extLst>
                </a:gridCol>
                <a:gridCol w="4610689">
                  <a:extLst>
                    <a:ext uri="{9D8B030D-6E8A-4147-A177-3AD203B41FA5}">
                      <a16:colId xmlns:a16="http://schemas.microsoft.com/office/drawing/2014/main" val="3311898131"/>
                    </a:ext>
                  </a:extLst>
                </a:gridCol>
                <a:gridCol w="1625800">
                  <a:extLst>
                    <a:ext uri="{9D8B030D-6E8A-4147-A177-3AD203B41FA5}">
                      <a16:colId xmlns:a16="http://schemas.microsoft.com/office/drawing/2014/main" val="4273948441"/>
                    </a:ext>
                  </a:extLst>
                </a:gridCol>
                <a:gridCol w="4110511">
                  <a:extLst>
                    <a:ext uri="{9D8B030D-6E8A-4147-A177-3AD203B41FA5}">
                      <a16:colId xmlns:a16="http://schemas.microsoft.com/office/drawing/2014/main" val="2947533128"/>
                    </a:ext>
                  </a:extLst>
                </a:gridCol>
              </a:tblGrid>
              <a:tr h="2462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11006726"/>
                  </a:ext>
                </a:extLst>
              </a:tr>
              <a:tr h="17640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Ахмедьярова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Лэззэт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Аликовна 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 президент Ассоциации инвалидов больных </a:t>
                      </a:r>
                      <a:r>
                        <a:rPr lang="ru-RU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гемобластозами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«Сегодня. Все вместе»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.г. Алматы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Чейшвили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Марина Сулико</a:t>
                      </a:r>
                      <a:r>
                        <a:rPr lang="el-GR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´</a:t>
                      </a: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вна</a:t>
                      </a:r>
                      <a:r>
                        <a:rPr lang="en-US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– </a:t>
                      </a:r>
                      <a:r>
                        <a:rPr lang="ru-RU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советник по организации службы поддержки пациентов ТОО «Центр гематологии».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г. Нур-Султан</a:t>
                      </a:r>
                      <a:endParaRPr lang="en-US" sz="14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10747840"/>
                  </a:ext>
                </a:extLst>
              </a:tr>
              <a:tr h="164141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Кемайкин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Вадим Матвеевич 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 к.м.н., главный внештатный гематолог РК, руководитель департамента онкогематологии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и трансплантации костного мозга «ННОЦ».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г. Нур-Султан.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15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Габбасова Сауле Телембаевна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 магистр общественного здравоохранения РК, руководитель центра гематологии с трансплантацией костного мозга </a:t>
                      </a:r>
                      <a:r>
                        <a:rPr lang="ru-RU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КазНИИОиР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,</a:t>
                      </a:r>
                    </a:p>
                    <a:p>
                      <a:pPr marL="0" marR="0" lvl="0" indent="0" algn="ctr" defTabSz="91415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г. Алматы.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80473510"/>
                  </a:ext>
                </a:extLst>
              </a:tr>
              <a:tr h="164484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Клодзинский Антон Анатольевич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- к.м.н., медицинский директор ТОО « Центр гематологии»,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г. Нур-Султан.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Баландинская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Ирина Геннадьевна 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 врач- гематолог высшей категории, директор филиала «Центр гематологии».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г.Караганда.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07418849"/>
                  </a:ext>
                </a:extLst>
              </a:tr>
              <a:tr h="152327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Карабеков Азат </a:t>
                      </a:r>
                      <a:r>
                        <a:rPr lang="ru-RU" sz="14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Багланович</a:t>
                      </a:r>
                      <a:r>
                        <a:rPr lang="ru-RU" sz="14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 врач- гематолог</a:t>
                      </a:r>
                      <a:r>
                        <a:rPr lang="en-US" sz="14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,</a:t>
                      </a:r>
                      <a:r>
                        <a:rPr lang="ru-RU" sz="14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c</a:t>
                      </a:r>
                      <a:r>
                        <a:rPr lang="ru-RU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тарший</a:t>
                      </a: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ординатор ОГ-1, ТОО «ННОЦ»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г. Нур-Султан.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4852303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FBCADDF1-FBF7-4058-9F54-95BA5FADB94C}"/>
              </a:ext>
            </a:extLst>
          </p:cNvPr>
          <p:cNvGrpSpPr/>
          <p:nvPr/>
        </p:nvGrpSpPr>
        <p:grpSpPr>
          <a:xfrm>
            <a:off x="182880" y="386893"/>
            <a:ext cx="7147287" cy="6381024"/>
            <a:chOff x="801897" y="479485"/>
            <a:chExt cx="7147287" cy="638102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2705331-758D-4CB3-884E-32946362E1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396"/>
            <a:stretch/>
          </p:blipFill>
          <p:spPr>
            <a:xfrm>
              <a:off x="801897" y="576092"/>
              <a:ext cx="1474502" cy="1549876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470888F-1E22-4813-A34A-E2D3E1CC38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3870" b="99144" l="3049" r="99238">
                          <a14:foregroundMark x1="94209" y1="83050" x2="99238" y2="83733"/>
                          <a14:foregroundMark x1="12349" y1="71931" x2="89023" y2="82346"/>
                          <a14:foregroundMark x1="28049" y1="55651" x2="26220" y2="99144"/>
                          <a14:foregroundMark x1="44360" y1="19349" x2="44360" y2="13870"/>
                          <a14:foregroundMark x1="44360" y1="13870" x2="49238" y2="99144"/>
                          <a14:foregroundMark x1="8841" y1="83733" x2="75152" y2="66610"/>
                          <a14:foregroundMark x1="75152" y1="66610" x2="59756" y2="61986"/>
                          <a14:foregroundMark x1="59756" y1="61986" x2="74238" y2="61986"/>
                          <a14:foregroundMark x1="74238" y1="61986" x2="63720" y2="51027"/>
                          <a14:foregroundMark x1="34756" y1="71062" x2="19059" y2="65534"/>
                          <a14:foregroundMark x1="5318" y1="61130" x2="5030" y2="61130"/>
                          <a14:foregroundMark x1="34756" y1="52055" x2="5030" y2="95548"/>
                          <a14:foregroundMark x1="34756" y1="75685" x2="36738" y2="99144"/>
                          <a14:foregroundMark x1="3049" y1="97432" x2="43445" y2="91096"/>
                          <a14:foregroundMark x1="43445" y1="91096" x2="89023" y2="92785"/>
                          <a14:foregroundMark x1="75152" y1="76541" x2="79556" y2="64043"/>
                          <a14:backgroundMark x1="7927" y1="61130" x2="5945" y2="80993"/>
                          <a14:backgroundMark x1="7927" y1="61986" x2="13720" y2="69178"/>
                          <a14:backgroundMark x1="20427" y1="53767" x2="9756" y2="70205"/>
                          <a14:backgroundMark x1="91616" y1="74658" x2="91616" y2="99144"/>
                          <a14:backgroundMark x1="81860" y1="61130" x2="80945" y2="61130"/>
                          <a14:backgroundMark x1="9756" y1="70205" x2="9756" y2="75685"/>
                          <a14:backgroundMark x1="10823" y1="63870" x2="17530" y2="67466"/>
                          <a14:backgroundMark x1="79116" y1="59247" x2="82927" y2="63870"/>
                        </a14:backgroundRemoval>
                      </a14:imgEffect>
                    </a14:imgLayer>
                  </a14:imgProps>
                </a:ext>
              </a:extLst>
            </a:blip>
            <a:srcRect t="5417" r="11470" b="-1"/>
            <a:stretch/>
          </p:blipFill>
          <p:spPr>
            <a:xfrm>
              <a:off x="6504436" y="2164793"/>
              <a:ext cx="1382291" cy="1585029"/>
            </a:xfrm>
            <a:prstGeom prst="rect">
              <a:avLst/>
            </a:prstGeom>
          </p:spPr>
        </p:pic>
        <p:pic>
          <p:nvPicPr>
            <p:cNvPr id="12" name="Picture 11" descr="A person wearing glasses&#10;&#10;Description automatically generated with medium confidence">
              <a:extLst>
                <a:ext uri="{FF2B5EF4-FFF2-40B4-BE49-F238E27FC236}">
                  <a16:creationId xmlns:a16="http://schemas.microsoft.com/office/drawing/2014/main" id="{FB9CF5B5-C8BC-497E-94A1-6CCC317C27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7813" b="99349" l="0" r="99314">
                          <a14:foregroundMark x1="40309" y1="45182" x2="22127" y2="72396"/>
                          <a14:foregroundMark x1="22127" y1="72396" x2="17324" y2="75651"/>
                          <a14:foregroundMark x1="17324" y1="75651" x2="69640" y2="99349"/>
                          <a14:foregroundMark x1="29846" y1="70833" x2="17667" y2="53776"/>
                          <a14:foregroundMark x1="16981" y1="61068" x2="16467" y2="61458"/>
                          <a14:foregroundMark x1="16467" y1="61458" x2="8576" y2="62240"/>
                          <a14:foregroundMark x1="88851" y1="68750" x2="96226" y2="67969"/>
                          <a14:foregroundMark x1="96226" y1="67969" x2="69125" y2="61849"/>
                          <a14:foregroundMark x1="68439" y1="55339" x2="66724" y2="49219"/>
                          <a14:foregroundMark x1="86449" y1="79427" x2="99314" y2="84245"/>
                          <a14:foregroundMark x1="28130" y1="72917" x2="0" y2="92448"/>
                          <a14:foregroundMark x1="57976" y1="13542" x2="57976" y2="13542"/>
                          <a14:foregroundMark x1="54374" y1="12370" x2="53516" y2="781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411" t="3042" r="-11483" b="6744"/>
            <a:stretch/>
          </p:blipFill>
          <p:spPr>
            <a:xfrm>
              <a:off x="6504436" y="5395637"/>
              <a:ext cx="1444748" cy="1464872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B293D57-1BF0-431C-964A-09983B4BCF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2353" b="98824" l="0" r="97255">
                          <a14:foregroundMark x1="71765" y1="87451" x2="97647" y2="98824"/>
                          <a14:foregroundMark x1="93333" y1="93725" x2="87843" y2="90196"/>
                          <a14:foregroundMark x1="87843" y1="90196" x2="94510" y2="86275"/>
                          <a14:foregroundMark x1="82353" y1="86275" x2="77255" y2="86275"/>
                          <a14:foregroundMark x1="33725" y1="86275" x2="5490" y2="89020"/>
                          <a14:foregroundMark x1="5490" y1="89020" x2="6667" y2="97647"/>
                          <a14:foregroundMark x1="15294" y1="89020" x2="15294" y2="83922"/>
                          <a14:foregroundMark x1="6667" y1="93725" x2="0" y2="96471"/>
                          <a14:foregroundMark x1="56471" y1="10980" x2="50980" y2="2353"/>
                        </a14:backgroundRemoval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 t="-3197"/>
            <a:stretch/>
          </p:blipFill>
          <p:spPr>
            <a:xfrm>
              <a:off x="6525849" y="3876582"/>
              <a:ext cx="1409367" cy="1464873"/>
            </a:xfrm>
            <a:prstGeom prst="rect">
              <a:avLst/>
            </a:prstGeom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81BCCABC-1DA4-4648-B2BA-F179558EF8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1765" b="90588" l="4706" r="70196">
                          <a14:foregroundMark x1="41176" y1="61176" x2="5490" y2="69020"/>
                          <a14:foregroundMark x1="22353" y1="71373" x2="20000" y2="90196"/>
                          <a14:foregroundMark x1="44706" y1="77255" x2="60000" y2="52549"/>
                          <a14:foregroundMark x1="60000" y1="52549" x2="65882" y2="50196"/>
                          <a14:foregroundMark x1="65882" y1="50196" x2="69412" y2="77255"/>
                          <a14:foregroundMark x1="69412" y1="77255" x2="69804" y2="77255"/>
                          <a14:foregroundMark x1="69804" y1="77255" x2="70588" y2="61176"/>
                          <a14:foregroundMark x1="41961" y1="18824" x2="41961" y2="16471"/>
                          <a14:foregroundMark x1="44706" y1="15686" x2="42745" y2="13725"/>
                          <a14:foregroundMark x1="42745" y1="13725" x2="50196" y2="12157"/>
                          <a14:foregroundMark x1="69804" y1="77647" x2="68235" y2="9058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20" t="3325" r="27373" b="12105"/>
            <a:stretch/>
          </p:blipFill>
          <p:spPr bwMode="auto">
            <a:xfrm>
              <a:off x="829056" y="2068187"/>
              <a:ext cx="1383471" cy="1681636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94B6379-D594-469A-A851-3E4F703BF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8213" b="99517" l="4651" r="95814">
                          <a14:foregroundMark x1="5581" y1="88889" x2="93023" y2="88889"/>
                          <a14:foregroundMark x1="93023" y1="88889" x2="96279" y2="99517"/>
                          <a14:foregroundMark x1="58140" y1="24638" x2="56744" y2="821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483617" y="479485"/>
              <a:ext cx="1411465" cy="1646484"/>
            </a:xfrm>
            <a:prstGeom prst="roundRect">
              <a:avLst>
                <a:gd name="adj" fmla="val 151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201A7DF-751E-4FF6-9C46-99DD8CDC9821}"/>
              </a:ext>
            </a:extLst>
          </p:cNvPr>
          <p:cNvGrpSpPr/>
          <p:nvPr/>
        </p:nvGrpSpPr>
        <p:grpSpPr>
          <a:xfrm>
            <a:off x="292372" y="3783990"/>
            <a:ext cx="1447343" cy="1543807"/>
            <a:chOff x="941559" y="3756991"/>
            <a:chExt cx="1267371" cy="157076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962B8C-4E6E-490A-9C0F-905BC8C8C11B}"/>
                </a:ext>
              </a:extLst>
            </p:cNvPr>
            <p:cNvSpPr/>
            <p:nvPr/>
          </p:nvSpPr>
          <p:spPr>
            <a:xfrm>
              <a:off x="955947" y="3756991"/>
              <a:ext cx="1231570" cy="1570767"/>
            </a:xfrm>
            <a:prstGeom prst="rect">
              <a:avLst/>
            </a:prstGeom>
            <a:solidFill>
              <a:srgbClr val="F0F0F1"/>
            </a:solidFill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endParaRPr kumimoji="1" lang="en-US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5C020A0-5B9A-4D56-A208-7D0A40C4A6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33792" b="75792" l="93" r="99815">
                          <a14:foregroundMark x1="45093" y1="65792" x2="28889" y2="69708"/>
                          <a14:foregroundMark x1="28889" y1="69708" x2="18056" y2="75708"/>
                          <a14:foregroundMark x1="18056" y1="75708" x2="17407" y2="75792"/>
                          <a14:foregroundMark x1="87500" y1="72208" x2="99907" y2="71792"/>
                          <a14:foregroundMark x1="6019" y1="73792" x2="93" y2="74208"/>
                          <a14:foregroundMark x1="56389" y1="42208" x2="56389" y2="42208"/>
                          <a14:foregroundMark x1="51481" y1="35125" x2="51481" y2="3379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134" r="2593" b="25333"/>
            <a:stretch/>
          </p:blipFill>
          <p:spPr>
            <a:xfrm>
              <a:off x="941559" y="3756991"/>
              <a:ext cx="1267371" cy="15595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78391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heme/theme1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9</Words>
  <Application>Microsoft Office PowerPoint</Application>
  <PresentationFormat>Widescreen</PresentationFormat>
  <Paragraphs>5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Takeda Slide Master</vt:lpstr>
      <vt:lpstr>think-cell Slide</vt:lpstr>
      <vt:lpstr>"Виртуальная школа пациентов с множественной миеломой"  3.02.2022г.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кола для пациенов с Множественной миеломой</dc:title>
  <dc:creator>Kogay, Inna</dc:creator>
  <cp:lastModifiedBy>Kogay, Inna</cp:lastModifiedBy>
  <cp:revision>68</cp:revision>
  <dcterms:created xsi:type="dcterms:W3CDTF">2021-11-18T04:34:59Z</dcterms:created>
  <dcterms:modified xsi:type="dcterms:W3CDTF">2022-01-31T06:49:32Z</dcterms:modified>
</cp:coreProperties>
</file>